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9" r:id="rId1"/>
    <p:sldMasterId id="2147483776" r:id="rId2"/>
    <p:sldMasterId id="2147483788" r:id="rId3"/>
    <p:sldMasterId id="2147483800" r:id="rId4"/>
    <p:sldMasterId id="2147483830" r:id="rId5"/>
    <p:sldMasterId id="2147483847" r:id="rId6"/>
    <p:sldMasterId id="2147483859" r:id="rId7"/>
  </p:sldMasterIdLst>
  <p:notesMasterIdLst>
    <p:notesMasterId r:id="rId39"/>
  </p:notesMasterIdLst>
  <p:sldIdLst>
    <p:sldId id="257" r:id="rId8"/>
    <p:sldId id="259" r:id="rId9"/>
    <p:sldId id="258" r:id="rId10"/>
    <p:sldId id="263" r:id="rId11"/>
    <p:sldId id="261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73" r:id="rId22"/>
    <p:sldId id="274" r:id="rId23"/>
    <p:sldId id="275" r:id="rId24"/>
    <p:sldId id="276" r:id="rId25"/>
    <p:sldId id="277" r:id="rId26"/>
    <p:sldId id="278" r:id="rId27"/>
    <p:sldId id="279" r:id="rId28"/>
    <p:sldId id="280" r:id="rId29"/>
    <p:sldId id="281" r:id="rId30"/>
    <p:sldId id="282" r:id="rId31"/>
    <p:sldId id="283" r:id="rId32"/>
    <p:sldId id="284" r:id="rId33"/>
    <p:sldId id="285" r:id="rId34"/>
    <p:sldId id="286" r:id="rId35"/>
    <p:sldId id="287" r:id="rId36"/>
    <p:sldId id="288" r:id="rId37"/>
    <p:sldId id="289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47A94-04C3-439E-A294-7EACD683BCA5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F19ACE-2C6E-4204-82C1-04D100ED352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506352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26dc3fbeee0_2_6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26dc3fbeee0_2_6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57643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6dc3fbeee0_2_6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" name="Google Shape;66;g26dc3fbeee0_2_6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6947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g26dc3fbeee0_3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2" name="Google Shape;72;g26dc3fbeee0_3_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480306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g26dc3fbeee0_3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8" name="Google Shape;78;g26dc3fbeee0_3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511999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g26dc3fbeee0_2_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g26dc3fbeee0_2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56575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6E16B-8FC7-40B9-BA99-0FE94552751A}" type="slidenum">
              <a:rPr lang="en-IN" smtClean="0">
                <a:solidFill>
                  <a:prstClr val="black"/>
                </a:solidFill>
              </a:rPr>
              <a:pPr/>
              <a:t>29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680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72255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78553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6878035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97916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04401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99914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043850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872062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2033067" y="896808"/>
            <a:ext cx="1442167" cy="1499933"/>
          </a:xfrm>
          <a:custGeom>
            <a:avLst/>
            <a:gdLst/>
            <a:ahLst/>
            <a:cxnLst/>
            <a:rect l="l" t="t" r="r" b="b"/>
            <a:pathLst>
              <a:path w="43265" h="44998" extrusionOk="0">
                <a:moveTo>
                  <a:pt x="0" y="44998"/>
                </a:moveTo>
                <a:lnTo>
                  <a:pt x="0" y="0"/>
                </a:lnTo>
                <a:lnTo>
                  <a:pt x="43265" y="0"/>
                </a:lnTo>
              </a:path>
            </a:pathLst>
          </a:custGeom>
          <a:noFill/>
          <a:ln w="28575" cap="flat" cmpd="sng">
            <a:solidFill>
              <a:schemeClr val="accent5"/>
            </a:solidFill>
            <a:prstDash val="solid"/>
            <a:miter lim="8000"/>
            <a:headEnd type="none" w="sm" len="sm"/>
            <a:tailEnd type="none" w="sm" len="sm"/>
          </a:ln>
        </p:spPr>
      </p:sp>
      <p:sp>
        <p:nvSpPr>
          <p:cNvPr id="11" name="Google Shape;11;p2"/>
          <p:cNvSpPr/>
          <p:nvPr/>
        </p:nvSpPr>
        <p:spPr>
          <a:xfrm rot="10800000">
            <a:off x="8716751" y="4457234"/>
            <a:ext cx="1442167" cy="1499933"/>
          </a:xfrm>
          <a:custGeom>
            <a:avLst/>
            <a:gdLst/>
            <a:ahLst/>
            <a:cxnLst/>
            <a:rect l="l" t="t" r="r" b="b"/>
            <a:pathLst>
              <a:path w="43265" h="44998" extrusionOk="0">
                <a:moveTo>
                  <a:pt x="0" y="44998"/>
                </a:moveTo>
                <a:lnTo>
                  <a:pt x="0" y="0"/>
                </a:lnTo>
                <a:lnTo>
                  <a:pt x="43265" y="0"/>
                </a:lnTo>
              </a:path>
            </a:pathLst>
          </a:custGeom>
          <a:noFill/>
          <a:ln w="28575" cap="flat" cmpd="sng">
            <a:solidFill>
              <a:schemeClr val="accent5"/>
            </a:solidFill>
            <a:prstDash val="solid"/>
            <a:miter lim="8000"/>
            <a:headEnd type="none" w="sm" len="sm"/>
            <a:tailEnd type="none" w="sm" len="sm"/>
          </a:ln>
        </p:spPr>
      </p:sp>
      <p:cxnSp>
        <p:nvCxnSpPr>
          <p:cNvPr id="12" name="Google Shape;12;p2"/>
          <p:cNvCxnSpPr/>
          <p:nvPr/>
        </p:nvCxnSpPr>
        <p:spPr>
          <a:xfrm>
            <a:off x="5812803" y="3756619"/>
            <a:ext cx="5664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2240403" y="1585233"/>
            <a:ext cx="7711200" cy="194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1pPr>
            <a:lvl2pPr lvl="1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2pPr>
            <a:lvl3pPr lvl="2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3pPr>
            <a:lvl4pPr lvl="3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4pPr>
            <a:lvl5pPr lvl="4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5pPr>
            <a:lvl6pPr lvl="5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6pPr>
            <a:lvl7pPr lvl="6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7pPr>
            <a:lvl8pPr lvl="7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8pPr>
            <a:lvl9pPr lvl="8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5333"/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ubTitle" idx="1"/>
          </p:nvPr>
        </p:nvSpPr>
        <p:spPr>
          <a:xfrm>
            <a:off x="2240403" y="4065933"/>
            <a:ext cx="7711200" cy="121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32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32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32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32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32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32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32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32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32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5168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oogle Shape;17;p3"/>
          <p:cNvCxnSpPr/>
          <p:nvPr/>
        </p:nvCxnSpPr>
        <p:spPr>
          <a:xfrm>
            <a:off x="5812803" y="3756619"/>
            <a:ext cx="5664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" name="Google Shape;18;p3"/>
          <p:cNvSpPr txBox="1">
            <a:spLocks noGrp="1"/>
          </p:cNvSpPr>
          <p:nvPr>
            <p:ph type="title"/>
          </p:nvPr>
        </p:nvSpPr>
        <p:spPr>
          <a:xfrm>
            <a:off x="641000" y="2353267"/>
            <a:ext cx="10962800" cy="1210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3429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Google Shape;21;p4"/>
          <p:cNvCxnSpPr/>
          <p:nvPr/>
        </p:nvCxnSpPr>
        <p:spPr>
          <a:xfrm>
            <a:off x="656751" y="1680379"/>
            <a:ext cx="5664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22;p4"/>
          <p:cNvSpPr txBox="1">
            <a:spLocks noGrp="1"/>
          </p:cNvSpPr>
          <p:nvPr>
            <p:ph type="title"/>
          </p:nvPr>
        </p:nvSpPr>
        <p:spPr>
          <a:xfrm>
            <a:off x="517200" y="610700"/>
            <a:ext cx="11157600" cy="91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517200" y="1986432"/>
            <a:ext cx="11157600" cy="410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3585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22222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Google Shape;26;p5"/>
          <p:cNvCxnSpPr/>
          <p:nvPr/>
        </p:nvCxnSpPr>
        <p:spPr>
          <a:xfrm>
            <a:off x="656751" y="1680379"/>
            <a:ext cx="5664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" name="Google Shape;27;p5"/>
          <p:cNvSpPr txBox="1">
            <a:spLocks noGrp="1"/>
          </p:cNvSpPr>
          <p:nvPr>
            <p:ph type="title"/>
          </p:nvPr>
        </p:nvSpPr>
        <p:spPr>
          <a:xfrm>
            <a:off x="517200" y="610700"/>
            <a:ext cx="11157600" cy="91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body" idx="1"/>
          </p:nvPr>
        </p:nvSpPr>
        <p:spPr>
          <a:xfrm>
            <a:off x="517200" y="1986433"/>
            <a:ext cx="5333200" cy="410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2"/>
          </p:nvPr>
        </p:nvSpPr>
        <p:spPr>
          <a:xfrm>
            <a:off x="6341600" y="1986433"/>
            <a:ext cx="5333200" cy="410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406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6"/>
          <p:cNvSpPr txBox="1">
            <a:spLocks noGrp="1"/>
          </p:cNvSpPr>
          <p:nvPr>
            <p:ph type="title"/>
          </p:nvPr>
        </p:nvSpPr>
        <p:spPr>
          <a:xfrm>
            <a:off x="517200" y="610700"/>
            <a:ext cx="11157600" cy="91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0709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Google Shape;35;p7"/>
          <p:cNvCxnSpPr/>
          <p:nvPr/>
        </p:nvCxnSpPr>
        <p:spPr>
          <a:xfrm>
            <a:off x="652291" y="1883036"/>
            <a:ext cx="4420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6" name="Google Shape;36;p7"/>
          <p:cNvSpPr txBox="1">
            <a:spLocks noGrp="1"/>
          </p:cNvSpPr>
          <p:nvPr>
            <p:ph type="title"/>
          </p:nvPr>
        </p:nvSpPr>
        <p:spPr>
          <a:xfrm>
            <a:off x="5172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7" name="Google Shape;37;p7"/>
          <p:cNvSpPr txBox="1">
            <a:spLocks noGrp="1"/>
          </p:cNvSpPr>
          <p:nvPr>
            <p:ph type="body" idx="1"/>
          </p:nvPr>
        </p:nvSpPr>
        <p:spPr>
          <a:xfrm>
            <a:off x="517200" y="2125367"/>
            <a:ext cx="3744000" cy="357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7333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8"/>
          <p:cNvSpPr txBox="1">
            <a:spLocks noGrp="1"/>
          </p:cNvSpPr>
          <p:nvPr>
            <p:ph type="title"/>
          </p:nvPr>
        </p:nvSpPr>
        <p:spPr>
          <a:xfrm>
            <a:off x="653667" y="701800"/>
            <a:ext cx="74916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41" name="Google Shape;41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2693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9"/>
          <p:cNvSpPr/>
          <p:nvPr/>
        </p:nvSpPr>
        <p:spPr>
          <a:xfrm>
            <a:off x="6096000" y="-10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kern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44" name="Google Shape;44;p9"/>
          <p:cNvCxnSpPr/>
          <p:nvPr/>
        </p:nvCxnSpPr>
        <p:spPr>
          <a:xfrm>
            <a:off x="6706233" y="5994004"/>
            <a:ext cx="721200" cy="0"/>
          </a:xfrm>
          <a:prstGeom prst="straightConnector1">
            <a:avLst/>
          </a:prstGeom>
          <a:noFill/>
          <a:ln w="3810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5" name="Google Shape;45;p9"/>
          <p:cNvSpPr txBox="1">
            <a:spLocks noGrp="1"/>
          </p:cNvSpPr>
          <p:nvPr>
            <p:ph type="title"/>
          </p:nvPr>
        </p:nvSpPr>
        <p:spPr>
          <a:xfrm>
            <a:off x="354000" y="1612100"/>
            <a:ext cx="5393600" cy="200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800"/>
              <a:buNone/>
              <a:defRPr sz="5067"/>
            </a:lvl1pPr>
            <a:lvl2pPr lvl="1" algn="ctr">
              <a:spcBef>
                <a:spcPts val="0"/>
              </a:spcBef>
              <a:spcAft>
                <a:spcPts val="0"/>
              </a:spcAft>
              <a:buSzPts val="3800"/>
              <a:buNone/>
              <a:defRPr sz="5067"/>
            </a:lvl2pPr>
            <a:lvl3pPr lvl="2" algn="ctr">
              <a:spcBef>
                <a:spcPts val="0"/>
              </a:spcBef>
              <a:spcAft>
                <a:spcPts val="0"/>
              </a:spcAft>
              <a:buSzPts val="3800"/>
              <a:buNone/>
              <a:defRPr sz="5067"/>
            </a:lvl3pPr>
            <a:lvl4pPr lvl="3" algn="ctr">
              <a:spcBef>
                <a:spcPts val="0"/>
              </a:spcBef>
              <a:spcAft>
                <a:spcPts val="0"/>
              </a:spcAft>
              <a:buSzPts val="3800"/>
              <a:buNone/>
              <a:defRPr sz="5067"/>
            </a:lvl4pPr>
            <a:lvl5pPr lvl="4" algn="ctr">
              <a:spcBef>
                <a:spcPts val="0"/>
              </a:spcBef>
              <a:spcAft>
                <a:spcPts val="0"/>
              </a:spcAft>
              <a:buSzPts val="3800"/>
              <a:buNone/>
              <a:defRPr sz="5067"/>
            </a:lvl5pPr>
            <a:lvl6pPr lvl="5" algn="ctr">
              <a:spcBef>
                <a:spcPts val="0"/>
              </a:spcBef>
              <a:spcAft>
                <a:spcPts val="0"/>
              </a:spcAft>
              <a:buSzPts val="3800"/>
              <a:buNone/>
              <a:defRPr sz="5067"/>
            </a:lvl6pPr>
            <a:lvl7pPr lvl="6" algn="ctr">
              <a:spcBef>
                <a:spcPts val="0"/>
              </a:spcBef>
              <a:spcAft>
                <a:spcPts val="0"/>
              </a:spcAft>
              <a:buSzPts val="3800"/>
              <a:buNone/>
              <a:defRPr sz="5067"/>
            </a:lvl7pPr>
            <a:lvl8pPr lvl="7" algn="ctr">
              <a:spcBef>
                <a:spcPts val="0"/>
              </a:spcBef>
              <a:spcAft>
                <a:spcPts val="0"/>
              </a:spcAft>
              <a:buSzPts val="3800"/>
              <a:buNone/>
              <a:defRPr sz="5067"/>
            </a:lvl8pPr>
            <a:lvl9pPr lvl="8" algn="ctr">
              <a:spcBef>
                <a:spcPts val="0"/>
              </a:spcBef>
              <a:spcAft>
                <a:spcPts val="0"/>
              </a:spcAft>
              <a:buSzPts val="3800"/>
              <a:buNone/>
              <a:defRPr sz="5067"/>
            </a:lvl9pPr>
          </a:lstStyle>
          <a:p>
            <a:endParaRPr/>
          </a:p>
        </p:txBody>
      </p:sp>
      <p:sp>
        <p:nvSpPr>
          <p:cNvPr id="46" name="Google Shape;46;p9"/>
          <p:cNvSpPr txBox="1">
            <a:spLocks noGrp="1"/>
          </p:cNvSpPr>
          <p:nvPr>
            <p:ph type="subTitle" idx="1"/>
          </p:nvPr>
        </p:nvSpPr>
        <p:spPr>
          <a:xfrm>
            <a:off x="354000" y="3692001"/>
            <a:ext cx="5393600" cy="17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80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800">
                <a:solidFill>
                  <a:schemeClr val="accent5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800">
                <a:solidFill>
                  <a:schemeClr val="accent5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800">
                <a:solidFill>
                  <a:schemeClr val="accent5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800">
                <a:solidFill>
                  <a:schemeClr val="accent5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800">
                <a:solidFill>
                  <a:schemeClr val="accent5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800">
                <a:solidFill>
                  <a:schemeClr val="accent5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800">
                <a:solidFill>
                  <a:schemeClr val="accent5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800">
                <a:solidFill>
                  <a:schemeClr val="accent5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9"/>
          <p:cNvSpPr txBox="1">
            <a:spLocks noGrp="1"/>
          </p:cNvSpPr>
          <p:nvPr>
            <p:ph type="body" idx="2"/>
          </p:nvPr>
        </p:nvSpPr>
        <p:spPr>
          <a:xfrm>
            <a:off x="6586000" y="965600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6906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0"/>
          <p:cNvSpPr txBox="1">
            <a:spLocks noGrp="1"/>
          </p:cNvSpPr>
          <p:nvPr>
            <p:ph type="body" idx="1"/>
          </p:nvPr>
        </p:nvSpPr>
        <p:spPr>
          <a:xfrm>
            <a:off x="426000" y="5644967"/>
            <a:ext cx="7998400" cy="79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 Slab"/>
              <a:buNone/>
              <a:defRPr>
                <a:latin typeface="Roboto Slab"/>
                <a:ea typeface="Roboto Slab"/>
                <a:cs typeface="Roboto Slab"/>
                <a:sym typeface="Roboto Slab"/>
              </a:defRPr>
            </a:lvl1pPr>
          </a:lstStyle>
          <a:p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269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1"/>
          <p:cNvSpPr/>
          <p:nvPr/>
        </p:nvSpPr>
        <p:spPr>
          <a:xfrm>
            <a:off x="200" y="6769100"/>
            <a:ext cx="12191600" cy="88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54" name="Google Shape;54;p11"/>
          <p:cNvSpPr txBox="1">
            <a:spLocks noGrp="1"/>
          </p:cNvSpPr>
          <p:nvPr>
            <p:ph type="title" hasCustomPrompt="1"/>
          </p:nvPr>
        </p:nvSpPr>
        <p:spPr>
          <a:xfrm>
            <a:off x="517200" y="1536600"/>
            <a:ext cx="11157600" cy="205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7333">
                <a:solidFill>
                  <a:schemeClr val="accent5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7333">
                <a:solidFill>
                  <a:schemeClr val="accent5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7333">
                <a:solidFill>
                  <a:schemeClr val="accent5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7333">
                <a:solidFill>
                  <a:schemeClr val="accent5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7333">
                <a:solidFill>
                  <a:schemeClr val="accent5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7333">
                <a:solidFill>
                  <a:schemeClr val="accent5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7333">
                <a:solidFill>
                  <a:schemeClr val="accent5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7333">
                <a:solidFill>
                  <a:schemeClr val="accent5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7333">
                <a:solidFill>
                  <a:schemeClr val="accent5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55" name="Google Shape;55;p11"/>
          <p:cNvSpPr txBox="1">
            <a:spLocks noGrp="1"/>
          </p:cNvSpPr>
          <p:nvPr>
            <p:ph type="body" idx="1"/>
          </p:nvPr>
        </p:nvSpPr>
        <p:spPr>
          <a:xfrm>
            <a:off x="517200" y="3892600"/>
            <a:ext cx="11157600" cy="142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6" name="Google Shape;56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5109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6092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0" y="1498602"/>
            <a:ext cx="7010400" cy="3298825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400" cap="none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3600" y="4927600"/>
            <a:ext cx="7010400" cy="12446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tx1"/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84514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 baseline="0"/>
            </a:lvl7pPr>
            <a:lvl8pPr>
              <a:defRPr baseline="0"/>
            </a:lvl8pPr>
            <a:lvl9pPr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A30F4-0B4E-4E4B-BC36-C30CD13F4E17}" type="datetimeFigureOut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/22/2023</a:t>
            </a:fld>
            <a:endParaRPr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60BA0E-20D0-4E7C-B286-26C960A6788F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08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03547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4445000"/>
            <a:ext cx="7010400" cy="1930400"/>
          </a:xfrm>
        </p:spPr>
        <p:txBody>
          <a:bodyPr anchor="t">
            <a:normAutofit/>
          </a:bodyPr>
          <a:lstStyle>
            <a:lvl1pPr algn="l">
              <a:defRPr sz="5400" b="0" cap="none" baseline="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800" y="3124201"/>
            <a:ext cx="7010400" cy="1296987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67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7600" y="1701800"/>
            <a:ext cx="4978400" cy="4470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 marL="2011328">
              <a:defRPr sz="1800"/>
            </a:lvl5pPr>
            <a:lvl6pPr marL="1706581" indent="0">
              <a:buNone/>
              <a:defRPr sz="1800"/>
            </a:lvl6pPr>
            <a:lvl7pPr marL="2011328">
              <a:defRPr sz="1800"/>
            </a:lvl7pPr>
            <a:lvl8pPr marL="2011328">
              <a:defRPr sz="1800"/>
            </a:lvl8pPr>
            <a:lvl9pPr marL="2011328"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0" y="1701800"/>
            <a:ext cx="4978400" cy="4470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 marL="2011328">
              <a:defRPr sz="1800"/>
            </a:lvl5pPr>
            <a:lvl6pPr marL="2011328">
              <a:defRPr sz="1800"/>
            </a:lvl6pPr>
            <a:lvl7pPr marL="2011328">
              <a:defRPr sz="1800"/>
            </a:lvl7pPr>
            <a:lvl8pPr marL="2011328">
              <a:defRPr sz="1800"/>
            </a:lvl8pPr>
            <a:lvl9pPr marL="2011328"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204D1-F9BD-4643-8480-6EA41EB484F1}" type="datetimeFigureOut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/22/2023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7DED6-D4C7-42EE-AB49-D2E39E64FDE4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930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1665" y="1608836"/>
            <a:ext cx="4974336" cy="51206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17600" y="2209800"/>
            <a:ext cx="4978400" cy="3962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2011328">
              <a:defRPr sz="1800"/>
            </a:lvl5pPr>
            <a:lvl6pPr marL="2011328">
              <a:defRPr sz="1800"/>
            </a:lvl6pPr>
            <a:lvl7pPr marL="2011328">
              <a:defRPr sz="1800"/>
            </a:lvl7pPr>
            <a:lvl8pPr marL="2011328">
              <a:defRPr sz="1800"/>
            </a:lvl8pPr>
            <a:lvl9pPr marL="2011328"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608836"/>
            <a:ext cx="4974336" cy="51206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9200" y="2209800"/>
            <a:ext cx="4978400" cy="3962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2011328">
              <a:defRPr sz="1800"/>
            </a:lvl5pPr>
            <a:lvl6pPr marL="2011328">
              <a:defRPr sz="1800"/>
            </a:lvl6pPr>
            <a:lvl7pPr marL="2011328">
              <a:defRPr sz="1800"/>
            </a:lvl7pPr>
            <a:lvl8pPr marL="2011328">
              <a:defRPr sz="1800"/>
            </a:lvl8pPr>
            <a:lvl9pPr marL="2011328"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204D1-F9BD-4643-8480-6EA41EB484F1}" type="datetimeFigureOut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/22/2023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7DED6-D4C7-42EE-AB49-D2E39E64FDE4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08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204D1-F9BD-4643-8480-6EA41EB484F1}" type="datetimeFigureOut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/22/2023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7DED6-D4C7-42EE-AB49-D2E39E64FDE4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25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204D1-F9BD-4643-8480-6EA41EB484F1}" type="datetimeFigureOut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/22/2023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7DED6-D4C7-42EE-AB49-D2E39E64FDE4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38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962400" y="0"/>
            <a:ext cx="79248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5000"/>
                </a:schemeClr>
              </a:gs>
            </a:gsLst>
            <a:lin ang="7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 defTabSz="1218987"/>
            <a:endParaRPr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01800"/>
            <a:ext cx="3352800" cy="2844800"/>
          </a:xfr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1" y="4648200"/>
            <a:ext cx="3352800" cy="1727200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0401" y="482600"/>
            <a:ext cx="6807200" cy="58928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F754-515F-40B9-8D24-D54D5825B3D0}" type="datetimeFigureOut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/22/2023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B78A-01B4-41F2-96B0-677A4A282832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155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082801" y="0"/>
            <a:ext cx="80264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5000"/>
                </a:schemeClr>
              </a:gs>
            </a:gsLst>
            <a:lin ang="7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 defTabSz="1218987"/>
            <a:endParaRPr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1" y="4800600"/>
            <a:ext cx="7315200" cy="762000"/>
          </a:xfr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 descr="An empty placeholder to add an image. Click on the placeholder and select the image that you wish to add."/>
          <p:cNvSpPr>
            <a:spLocks noGrp="1"/>
          </p:cNvSpPr>
          <p:nvPr>
            <p:ph type="pic" idx="1"/>
          </p:nvPr>
        </p:nvSpPr>
        <p:spPr>
          <a:xfrm>
            <a:off x="2438401" y="279402"/>
            <a:ext cx="7315200" cy="4448175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01" y="5562600"/>
            <a:ext cx="7315200" cy="8128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F754-515F-40B9-8D24-D54D5825B3D0}" type="datetimeFigureOut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/22/2023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B78A-01B4-41F2-96B0-677A4A282832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188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CB6C2-1084-4AED-A74A-DF028B0094EA}" type="datetimeFigureOut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/22/2023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C5AD9-787D-40FA-8A4D-16A055B9AF81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5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855200" y="274639"/>
            <a:ext cx="1422400" cy="589756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7600" y="274639"/>
            <a:ext cx="8534401" cy="589756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CB6C2-1084-4AED-A74A-DF028B0094EA}" type="datetimeFigureOut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/22/2023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C5AD9-787D-40FA-8A4D-16A055B9AF81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03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Title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2399" y="1964267"/>
            <a:ext cx="7197726" cy="2421464"/>
          </a:xfrm>
        </p:spPr>
        <p:txBody>
          <a:bodyPr anchor="b">
            <a:normAutofit/>
          </a:bodyPr>
          <a:lstStyle>
            <a:lvl1pPr algn="r">
              <a:defRPr sz="4800">
                <a:effectLst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399" y="4385732"/>
            <a:ext cx="7197726" cy="1405467"/>
          </a:xfrm>
        </p:spPr>
        <p:txBody>
          <a:bodyPr anchor="t">
            <a:normAutofit/>
          </a:bodyPr>
          <a:lstStyle>
            <a:lvl1pPr marL="0" indent="0" algn="r">
              <a:buNone/>
              <a:defRPr sz="1800" cap="all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32558" y="5870575"/>
            <a:ext cx="1600200" cy="377825"/>
          </a:xfrm>
        </p:spPr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2399" y="5870575"/>
            <a:ext cx="4893958" cy="377825"/>
          </a:xfrm>
        </p:spPr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08958" y="5870575"/>
            <a:ext cx="551167" cy="377825"/>
          </a:xfrm>
        </p:spPr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924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9744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7587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308581"/>
            <a:ext cx="10131427" cy="1468800"/>
          </a:xfrm>
        </p:spPr>
        <p:txBody>
          <a:bodyPr anchor="b"/>
          <a:lstStyle>
            <a:lvl1pPr algn="l">
              <a:defRPr sz="4000" b="0" cap="all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7381"/>
            <a:ext cx="10131428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 cap="all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33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2" y="2142067"/>
            <a:ext cx="4995334" cy="3649134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1895" y="2142067"/>
            <a:ext cx="4995332" cy="3649133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264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3670" y="2218267"/>
            <a:ext cx="470905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1" y="2870201"/>
            <a:ext cx="4996923" cy="2920998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3" y="2226734"/>
            <a:ext cx="4722813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23483" y="2870201"/>
            <a:ext cx="4995334" cy="2920998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3106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7643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5504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074333"/>
            <a:ext cx="3680885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8201" y="609601"/>
            <a:ext cx="6169026" cy="5181600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445933"/>
            <a:ext cx="3680885" cy="1828800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2208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600200"/>
            <a:ext cx="6164653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36253" y="914400"/>
            <a:ext cx="3280974" cy="4572000"/>
          </a:xfrm>
          <a:prstGeom prst="roundRect">
            <a:avLst>
              <a:gd name="adj" fmla="val 42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2971800"/>
            <a:ext cx="6164653" cy="1828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6881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732865"/>
            <a:ext cx="1013142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71600" y="932112"/>
            <a:ext cx="8759827" cy="3164976"/>
          </a:xfrm>
          <a:prstGeom prst="roundRect">
            <a:avLst>
              <a:gd name="adj" fmla="val 43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5299603"/>
            <a:ext cx="10131427" cy="49371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8831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3124199"/>
          </a:xfrm>
        </p:spPr>
        <p:txBody>
          <a:bodyPr anchor="ctr">
            <a:normAutofit/>
          </a:bodyPr>
          <a:lstStyle>
            <a:lvl1pPr algn="l">
              <a:defRPr sz="32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4629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05133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defTabSz="457200"/>
            <a:r>
              <a:rPr lang="en-US" sz="8000" dirty="0">
                <a:solidFill>
                  <a:prstClr val="white"/>
                </a:solidFill>
                <a:effectLst/>
              </a:rPr>
              <a:t>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defTabSz="457200"/>
            <a:r>
              <a:rPr lang="en-US" sz="8000" dirty="0">
                <a:solidFill>
                  <a:prstClr val="white"/>
                </a:solidFill>
                <a:effectLst/>
              </a:rPr>
              <a:t>“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97875" y="3352800"/>
            <a:ext cx="9339184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7465" y="4343400"/>
            <a:ext cx="10152367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2897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2" y="3308581"/>
            <a:ext cx="10131425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4777381"/>
            <a:ext cx="10131426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032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defTabSz="457200"/>
            <a:r>
              <a:rPr lang="en-US" sz="8000" dirty="0">
                <a:solidFill>
                  <a:prstClr val="white"/>
                </a:solidFill>
                <a:effectLst/>
              </a:rPr>
              <a:t>”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defTabSz="457200"/>
            <a:r>
              <a:rPr lang="en-US" sz="8000" dirty="0">
                <a:solidFill>
                  <a:prstClr val="white"/>
                </a:solidFill>
                <a:effectLst/>
              </a:rPr>
              <a:t>“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0" y="3886200"/>
            <a:ext cx="10135436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5200"/>
            <a:ext cx="10135436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9132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1" y="3505200"/>
            <a:ext cx="10131428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4425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4488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8675" y="609599"/>
            <a:ext cx="2158552" cy="5181601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7832116" cy="5181600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BF402-BCC0-6342-B377-AF3BF2235B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687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789684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57159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97542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8291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604699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445601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635070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86082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508568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55651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956657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A53010"/>
                </a:solidFill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A53010"/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882043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757919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A53010"/>
                </a:solidFill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A53010"/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431303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4648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292433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383289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7365689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30244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55142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01651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4116864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113926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237495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7760110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464345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319087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16316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509416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41461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12192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12192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12192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12192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65060" y="5052546"/>
            <a:ext cx="7516013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0109" y="3132290"/>
            <a:ext cx="9567135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713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524000" y="731520"/>
            <a:ext cx="85344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101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12192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12192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12192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0927" y="2172648"/>
            <a:ext cx="7955555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6584" y="4607511"/>
            <a:ext cx="7960659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951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523999" y="731519"/>
            <a:ext cx="4462272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6193536" y="731520"/>
            <a:ext cx="4462272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475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4000" y="731520"/>
            <a:ext cx="4462272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41929" y="1400327"/>
            <a:ext cx="4462272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403" y="731520"/>
            <a:ext cx="4462272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1399032"/>
            <a:ext cx="4462272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25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128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943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3016390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8794" y="2209801"/>
            <a:ext cx="4848113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4688" y="731520"/>
            <a:ext cx="5356113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34354" y="3497802"/>
            <a:ext cx="4518213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057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12192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12192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12192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12192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966900" y="1143000"/>
            <a:ext cx="54864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0516" y="1010486"/>
            <a:ext cx="4925485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9691" y="4464421"/>
            <a:ext cx="8511384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363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40000" y="731519"/>
            <a:ext cx="85344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835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38344" y="376518"/>
            <a:ext cx="27432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32151" y="731520"/>
            <a:ext cx="6439049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367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01170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517200" y="610700"/>
            <a:ext cx="11157600" cy="9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517200" y="1986432"/>
            <a:ext cx="11157600" cy="41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oboto"/>
              <a:buChar char="●"/>
              <a:defRPr sz="18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r">
              <a:buNone/>
              <a:defRPr sz="13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lvl="2" algn="r">
              <a:buNone/>
              <a:defRPr sz="13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lvl="3" algn="r">
              <a:buNone/>
              <a:defRPr sz="13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lvl="4" algn="r">
              <a:buNone/>
              <a:defRPr sz="13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lvl="5" algn="r">
              <a:buNone/>
              <a:defRPr sz="13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lvl="6" algn="r">
              <a:buNone/>
              <a:defRPr sz="13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lvl="7" algn="r">
              <a:buNone/>
              <a:defRPr sz="13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lvl="8" algn="r">
              <a:buNone/>
              <a:defRPr sz="13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kern="0">
                <a:solidFill>
                  <a:srgbClr val="FFFFFF"/>
                </a:solidFill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ker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528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26D9156D-10B7-4EB6-ACFA-571BAFFBC6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6" imgW="503" imgH="503" progId="TCLayout.ActiveDocument.1">
                  <p:embed/>
                </p:oleObj>
              </mc:Choice>
              <mc:Fallback>
                <p:oleObj name="think-cell Slide" r:id="rId16" imgW="503" imgH="5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304801" y="0"/>
            <a:ext cx="115824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5000"/>
                </a:schemeClr>
              </a:gs>
            </a:gsLst>
            <a:lin ang="7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 defTabSz="1218987"/>
            <a:endParaRPr sz="240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17600" y="76200"/>
            <a:ext cx="10160000" cy="1397000"/>
          </a:xfrm>
          <a:prstGeom prst="rect">
            <a:avLst/>
          </a:prstGeom>
        </p:spPr>
        <p:txBody>
          <a:bodyPr vert="horz" lIns="121899" tIns="60949" rIns="121899" bIns="60949" rtlCol="0" anchor="b">
            <a:norm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7600" y="1701800"/>
            <a:ext cx="10160000" cy="4470400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00" y="6400802"/>
            <a:ext cx="2743200" cy="320675"/>
          </a:xfrm>
          <a:prstGeom prst="rect">
            <a:avLst/>
          </a:prstGeom>
        </p:spPr>
        <p:txBody>
          <a:bodyPr vert="horz" lIns="121899" tIns="60949" rIns="121899" bIns="60949" rtlCol="0" anchor="b"/>
          <a:lstStyle>
            <a:lvl1pPr algn="l">
              <a:defRPr sz="1200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defTabSz="1218987"/>
            <a:fld id="{2DD204D1-F9BD-4643-8480-6EA41EB484F1}" type="datetimeFigureOut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defTabSz="1218987"/>
              <a:t>8/22/2023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08861" y="6400802"/>
            <a:ext cx="6217920" cy="320675"/>
          </a:xfrm>
          <a:prstGeom prst="rect">
            <a:avLst/>
          </a:prstGeom>
        </p:spPr>
        <p:txBody>
          <a:bodyPr vert="horz" lIns="121899" tIns="60949" rIns="121899" bIns="60949" rtlCol="0" anchor="b"/>
          <a:lstStyle>
            <a:lvl1pPr algn="ctr">
              <a:defRPr sz="1200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defTabSz="1218987"/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69795" y="6400802"/>
            <a:ext cx="1107806" cy="320675"/>
          </a:xfrm>
          <a:prstGeom prst="rect">
            <a:avLst/>
          </a:prstGeom>
        </p:spPr>
        <p:txBody>
          <a:bodyPr vert="horz" lIns="121899" tIns="60949" rIns="121899" bIns="60949" rtlCol="0" anchor="b"/>
          <a:lstStyle>
            <a:lvl1pPr algn="r">
              <a:defRPr sz="1200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defTabSz="1218987"/>
            <a:fld id="{EB37DED6-D4C7-42EE-AB49-D2E39E64FDE4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defTabSz="1218987"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18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218987" rtl="0" eaLnBrk="1" latinLnBrk="0" hangingPunct="1">
        <a:lnSpc>
          <a:spcPct val="85000"/>
        </a:lnSpc>
        <a:spcBef>
          <a:spcPct val="0"/>
        </a:spcBef>
        <a:buNone/>
        <a:tabLst/>
        <a:defRPr sz="440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47" indent="-304747" algn="l" defTabSz="1218987" rtl="0" eaLnBrk="1" latinLnBrk="0" hangingPunct="1">
        <a:lnSpc>
          <a:spcPct val="95000"/>
        </a:lnSpc>
        <a:spcBef>
          <a:spcPts val="1866"/>
        </a:spcBef>
        <a:buSzPct val="100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31392" indent="-304747" algn="l" defTabSz="1218987" rtl="0" eaLnBrk="1" latinLnBrk="0" hangingPunct="1">
        <a:lnSpc>
          <a:spcPct val="95000"/>
        </a:lnSpc>
        <a:spcBef>
          <a:spcPts val="1066"/>
        </a:spcBef>
        <a:buSzPct val="100000"/>
        <a:buFont typeface="Century Gothic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58037" indent="-304747" algn="l" defTabSz="1218987" rtl="0" eaLnBrk="1" latinLnBrk="0" hangingPunct="1">
        <a:lnSpc>
          <a:spcPct val="95000"/>
        </a:lnSpc>
        <a:spcBef>
          <a:spcPts val="1066"/>
        </a:spcBef>
        <a:buSzPct val="100000"/>
        <a:buFont typeface="Century Gothic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584683" indent="-304747" algn="l" defTabSz="1218987" rtl="0" eaLnBrk="1" latinLnBrk="0" hangingPunct="1">
        <a:lnSpc>
          <a:spcPct val="95000"/>
        </a:lnSpc>
        <a:spcBef>
          <a:spcPts val="1066"/>
        </a:spcBef>
        <a:buSzPct val="100000"/>
        <a:buFont typeface="Century Gothic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11328" indent="-304747" algn="l" defTabSz="1218987" rtl="0" eaLnBrk="1" latinLnBrk="0" hangingPunct="1">
        <a:lnSpc>
          <a:spcPct val="95000"/>
        </a:lnSpc>
        <a:spcBef>
          <a:spcPts val="1066"/>
        </a:spcBef>
        <a:buSzPct val="100000"/>
        <a:buFont typeface="Century Gothic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437973" indent="-304747" algn="l" defTabSz="1218987" rtl="0" eaLnBrk="1" latinLnBrk="0" hangingPunct="1">
        <a:lnSpc>
          <a:spcPct val="95000"/>
        </a:lnSpc>
        <a:spcBef>
          <a:spcPts val="1066"/>
        </a:spcBef>
        <a:buSzPct val="90000"/>
        <a:buFont typeface="Century Gothic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864619" indent="-304747" algn="l" defTabSz="1218987" rtl="0" eaLnBrk="1" latinLnBrk="0" hangingPunct="1">
        <a:lnSpc>
          <a:spcPct val="95000"/>
        </a:lnSpc>
        <a:spcBef>
          <a:spcPts val="1066"/>
        </a:spcBef>
        <a:buSzPct val="90000"/>
        <a:buFont typeface="Century Gothic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91264" indent="-304747" algn="l" defTabSz="1218987" rtl="0" eaLnBrk="1" latinLnBrk="0" hangingPunct="1">
        <a:lnSpc>
          <a:spcPct val="95000"/>
        </a:lnSpc>
        <a:spcBef>
          <a:spcPts val="1066"/>
        </a:spcBef>
        <a:buSzPct val="90000"/>
        <a:buFont typeface="Century Gothic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78859" indent="-304747" algn="l" defTabSz="1218987" rtl="0" eaLnBrk="1" latinLnBrk="0" hangingPunct="1">
        <a:lnSpc>
          <a:spcPct val="95000"/>
        </a:lnSpc>
        <a:spcBef>
          <a:spcPts val="1066"/>
        </a:spcBef>
        <a:buSzPct val="90000"/>
        <a:buFont typeface="Century Gothic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2142067"/>
            <a:ext cx="10131425" cy="36491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89660" y="5870575"/>
            <a:ext cx="1600200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pPr defTabSz="457200"/>
            <a:fld id="{1B69569C-4EE1-D640-A3A4-BA3C396A41A0}" type="datetimeFigureOut">
              <a:rPr lang="en-US" smtClean="0">
                <a:solidFill>
                  <a:prstClr val="white"/>
                </a:solidFill>
              </a:rPr>
              <a:pPr defTabSz="457200"/>
              <a:t>8/22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5870575"/>
            <a:ext cx="7827659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pPr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66060" y="5870575"/>
            <a:ext cx="551167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pPr defTabSz="457200"/>
            <a:fld id="{311BF402-BCC0-6342-B377-AF3BF2235B64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93133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470F8E-96A9-4B38-B444-6FC75876A47D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1054B6C2-30F0-4DBE-873B-71C8B42A51B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655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D344C8-226C-4446-B784-E5F6C925DC82}" type="datetimeFigureOut">
              <a:rPr lang="en-IN" smtClean="0"/>
              <a:t>22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8F5A4D-6898-4DE3-88C2-8CBF0365B9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911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12192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12192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12192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91053" y="4372168"/>
            <a:ext cx="8683348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4000" y="732260"/>
            <a:ext cx="85344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00" y="6172201"/>
            <a:ext cx="335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BD177D45-BE24-4949-B7B0-295DE6D51902}" type="datetimeFigureOut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-08-2023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172201"/>
            <a:ext cx="44704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80000" y="617220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AB70A8-78AC-4CE6-AEE2-1022F9542AD5}" type="slidenum">
              <a:rPr lang="en-IN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250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mailto:sharda@dr.du.ac.in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pic>
        <p:nvPicPr>
          <p:cNvPr id="12" name="Content Placeholder 11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714625" cy="1685925"/>
          </a:xfr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0"/>
            <a:ext cx="1950720" cy="187642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302000" y="3810000"/>
            <a:ext cx="5882640" cy="206210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kumimoji="0" lang="en-US" sz="3200" i="1" u="none" strike="noStrike" kern="0" normalizeH="0" baseline="0" noProof="0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/>
                <a:ea typeface="+mj-ea"/>
                <a:cs typeface="Times New Roman"/>
              </a:rPr>
              <a:t>DAULAT RAM COLLEGE  UNIVERSITY OF DELHI                   </a:t>
            </a:r>
            <a:r>
              <a:rPr kumimoji="0" lang="en-US" sz="3200" b="1" i="1" u="none" strike="noStrike" kern="0" normalizeH="0" baseline="0" noProof="0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/>
                <a:ea typeface="+mj-ea"/>
                <a:cs typeface="Times New Roman"/>
              </a:rPr>
              <a:t>AEC ORIENTATION, 2023-24</a:t>
            </a:r>
          </a:p>
          <a:p>
            <a:pPr algn="ctr"/>
            <a:r>
              <a:rPr lang="en-US" sz="3200" b="1" i="1" kern="0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/>
                <a:ea typeface="+mj-ea"/>
                <a:cs typeface="Times New Roman"/>
              </a:rPr>
              <a:t>For Ist year students</a:t>
            </a:r>
            <a:endParaRPr lang="en-IN" sz="3200" b="1" dirty="0">
              <a:ln w="0"/>
              <a:solidFill>
                <a:srgbClr val="FF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6728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17"/>
          <p:cNvSpPr txBox="1">
            <a:spLocks noGrp="1"/>
          </p:cNvSpPr>
          <p:nvPr>
            <p:ph type="title"/>
          </p:nvPr>
        </p:nvSpPr>
        <p:spPr>
          <a:xfrm>
            <a:off x="1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>
              <a:buClr>
                <a:schemeClr val="lt2"/>
              </a:buClr>
              <a:buSzPts val="3200"/>
            </a:pPr>
            <a:r>
              <a:rPr lang="en"/>
              <a:t> </a:t>
            </a:r>
            <a:br>
              <a:rPr lang="en"/>
            </a:br>
            <a:r>
              <a:rPr lang="en"/>
              <a:t>  </a:t>
            </a:r>
            <a:r>
              <a:rPr lang="en" sz="5333"/>
              <a:t>इकाई : 2 सम्प्रेषण के प्रकार </a:t>
            </a:r>
            <a:endParaRPr sz="5333"/>
          </a:p>
        </p:txBody>
      </p:sp>
      <p:pic>
        <p:nvPicPr>
          <p:cNvPr id="88" name="Google Shape;88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" y="1862667"/>
            <a:ext cx="12192001" cy="49953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736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588AE83E-A233-4D72-A836-B26251D972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971" y="1498602"/>
            <a:ext cx="7326685" cy="2434455"/>
          </a:xfrm>
        </p:spPr>
        <p:txBody>
          <a:bodyPr vert="horz">
            <a:normAutofit/>
          </a:bodyPr>
          <a:lstStyle/>
          <a:p>
            <a:r>
              <a:rPr lang="hi-IN" dirty="0"/>
              <a:t>हिंदी विभाग</a:t>
            </a:r>
            <a:br>
              <a:rPr lang="hi-IN" dirty="0"/>
            </a:br>
            <a:r>
              <a:rPr lang="hi-IN" dirty="0"/>
              <a:t>हिंदी औपचारिक लेखन (हिंदी ख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3971" y="4927600"/>
            <a:ext cx="7182669" cy="1244600"/>
          </a:xfrm>
        </p:spPr>
        <p:txBody>
          <a:bodyPr>
            <a:normAutofit/>
          </a:bodyPr>
          <a:lstStyle/>
          <a:p>
            <a:pPr algn="l"/>
            <a:r>
              <a:rPr lang="hi-IN" dirty="0"/>
              <a:t>विभागाध्यक्षा</a:t>
            </a:r>
          </a:p>
          <a:p>
            <a:pPr algn="l"/>
            <a:r>
              <a:rPr lang="hi-IN" dirty="0"/>
              <a:t>डॉ. अनीता मिंज</a:t>
            </a:r>
          </a:p>
        </p:txBody>
      </p:sp>
    </p:spTree>
    <p:extLst>
      <p:ext uri="{BB962C8B-B14F-4D97-AF65-F5344CB8AC3E}">
        <p14:creationId xmlns:p14="http://schemas.microsoft.com/office/powerpoint/2010/main" val="276104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7AEF73E-8077-4CD0-8E90-7E0A8D9CFD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703512" y="404664"/>
            <a:ext cx="9005226" cy="787400"/>
          </a:xfrm>
        </p:spPr>
        <p:txBody>
          <a:bodyPr vert="horz"/>
          <a:lstStyle/>
          <a:p>
            <a:r>
              <a:rPr lang="hi-IN" dirty="0"/>
              <a:t>कुछ प्रश्न?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idx="1"/>
          </p:nvPr>
        </p:nvSpPr>
        <p:spPr>
          <a:xfrm>
            <a:off x="551384" y="1700808"/>
            <a:ext cx="10513168" cy="4470400"/>
          </a:xfrm>
        </p:spPr>
        <p:txBody>
          <a:bodyPr>
            <a:normAutofit/>
          </a:bodyPr>
          <a:lstStyle/>
          <a:p>
            <a:pPr algn="l">
              <a:buFont typeface="Wingdings" panose="05000000000000000000" pitchFamily="2" charset="2"/>
              <a:buChar char="ü"/>
            </a:pPr>
            <a:r>
              <a:rPr lang="en-IN" sz="2200" dirty="0"/>
              <a:t>AECC </a:t>
            </a:r>
            <a:r>
              <a:rPr lang="hi-IN" sz="2200" dirty="0"/>
              <a:t>क्या है?</a:t>
            </a:r>
          </a:p>
          <a:p>
            <a:pPr algn="l">
              <a:buFont typeface="Wingdings" panose="05000000000000000000" pitchFamily="2" charset="2"/>
              <a:buChar char="ü"/>
            </a:pPr>
            <a:r>
              <a:rPr lang="hi-IN" sz="2200" dirty="0"/>
              <a:t>हिन्दी </a:t>
            </a:r>
            <a:r>
              <a:rPr lang="en-IN" sz="2200" dirty="0"/>
              <a:t>AECC </a:t>
            </a:r>
            <a:r>
              <a:rPr lang="hi-IN" sz="2200" dirty="0"/>
              <a:t>क्या है?</a:t>
            </a:r>
          </a:p>
          <a:p>
            <a:pPr algn="l">
              <a:buFont typeface="Wingdings" panose="05000000000000000000" pitchFamily="2" charset="2"/>
              <a:buChar char="ü"/>
            </a:pPr>
            <a:r>
              <a:rPr lang="hi-IN" sz="2200" dirty="0"/>
              <a:t>हिंदी </a:t>
            </a:r>
            <a:r>
              <a:rPr lang="en-IN" sz="2200" dirty="0"/>
              <a:t>AECC </a:t>
            </a:r>
            <a:r>
              <a:rPr lang="hi-IN" sz="2200" dirty="0"/>
              <a:t>विकल्प चुनना क्यों आवश्यक है?</a:t>
            </a:r>
          </a:p>
          <a:p>
            <a:pPr algn="l">
              <a:buFont typeface="Wingdings" panose="05000000000000000000" pitchFamily="2" charset="2"/>
              <a:buChar char="ü"/>
            </a:pPr>
            <a:r>
              <a:rPr lang="hi-IN" sz="2200" dirty="0"/>
              <a:t>हिंदी </a:t>
            </a:r>
            <a:r>
              <a:rPr lang="en-IN" sz="2200" dirty="0"/>
              <a:t>AECC </a:t>
            </a:r>
            <a:r>
              <a:rPr lang="hi-IN" sz="2200" dirty="0"/>
              <a:t>विकल्प चुनने से हमारे विषय में यह किस प्रकार लाभदायक हो सकेगा?</a:t>
            </a:r>
            <a:endParaRPr lang="en-IN" sz="2200" dirty="0"/>
          </a:p>
        </p:txBody>
      </p:sp>
      <p:sp>
        <p:nvSpPr>
          <p:cNvPr id="15" name="Boo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09986F88-651F-40C7-B440-A1908B54B2D7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65446" y="526902"/>
            <a:ext cx="676894" cy="542925"/>
          </a:xfrm>
          <a:custGeom>
            <a:avLst/>
            <a:gdLst>
              <a:gd name="T0" fmla="*/ 1219 w 1250"/>
              <a:gd name="T1" fmla="*/ 220 h 999"/>
              <a:gd name="T2" fmla="*/ 1219 w 1250"/>
              <a:gd name="T3" fmla="*/ 145 h 999"/>
              <a:gd name="T4" fmla="*/ 1203 w 1250"/>
              <a:gd name="T5" fmla="*/ 145 h 999"/>
              <a:gd name="T6" fmla="*/ 1066 w 1250"/>
              <a:gd name="T7" fmla="*/ 121 h 999"/>
              <a:gd name="T8" fmla="*/ 772 w 1250"/>
              <a:gd name="T9" fmla="*/ 78 h 999"/>
              <a:gd name="T10" fmla="*/ 625 w 1250"/>
              <a:gd name="T11" fmla="*/ 142 h 999"/>
              <a:gd name="T12" fmla="*/ 478 w 1250"/>
              <a:gd name="T13" fmla="*/ 78 h 999"/>
              <a:gd name="T14" fmla="*/ 184 w 1250"/>
              <a:gd name="T15" fmla="*/ 121 h 999"/>
              <a:gd name="T16" fmla="*/ 46 w 1250"/>
              <a:gd name="T17" fmla="*/ 145 h 999"/>
              <a:gd name="T18" fmla="*/ 30 w 1250"/>
              <a:gd name="T19" fmla="*/ 145 h 999"/>
              <a:gd name="T20" fmla="*/ 30 w 1250"/>
              <a:gd name="T21" fmla="*/ 220 h 999"/>
              <a:gd name="T22" fmla="*/ 0 w 1250"/>
              <a:gd name="T23" fmla="*/ 222 h 999"/>
              <a:gd name="T24" fmla="*/ 0 w 1250"/>
              <a:gd name="T25" fmla="*/ 999 h 999"/>
              <a:gd name="T26" fmla="*/ 625 w 1250"/>
              <a:gd name="T27" fmla="*/ 983 h 999"/>
              <a:gd name="T28" fmla="*/ 1250 w 1250"/>
              <a:gd name="T29" fmla="*/ 999 h 999"/>
              <a:gd name="T30" fmla="*/ 1250 w 1250"/>
              <a:gd name="T31" fmla="*/ 222 h 999"/>
              <a:gd name="T32" fmla="*/ 1219 w 1250"/>
              <a:gd name="T33" fmla="*/ 220 h 999"/>
              <a:gd name="T34" fmla="*/ 615 w 1250"/>
              <a:gd name="T35" fmla="*/ 928 h 999"/>
              <a:gd name="T36" fmla="*/ 46 w 1250"/>
              <a:gd name="T37" fmla="*/ 882 h 999"/>
              <a:gd name="T38" fmla="*/ 46 w 1250"/>
              <a:gd name="T39" fmla="*/ 161 h 999"/>
              <a:gd name="T40" fmla="*/ 615 w 1250"/>
              <a:gd name="T41" fmla="*/ 176 h 999"/>
              <a:gd name="T42" fmla="*/ 615 w 1250"/>
              <a:gd name="T43" fmla="*/ 928 h 999"/>
              <a:gd name="T44" fmla="*/ 1203 w 1250"/>
              <a:gd name="T45" fmla="*/ 882 h 999"/>
              <a:gd name="T46" fmla="*/ 634 w 1250"/>
              <a:gd name="T47" fmla="*/ 928 h 999"/>
              <a:gd name="T48" fmla="*/ 634 w 1250"/>
              <a:gd name="T49" fmla="*/ 176 h 999"/>
              <a:gd name="T50" fmla="*/ 1203 w 1250"/>
              <a:gd name="T51" fmla="*/ 161 h 999"/>
              <a:gd name="T52" fmla="*/ 1203 w 1250"/>
              <a:gd name="T53" fmla="*/ 882 h 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250" h="999">
                <a:moveTo>
                  <a:pt x="1219" y="220"/>
                </a:moveTo>
                <a:lnTo>
                  <a:pt x="1219" y="145"/>
                </a:lnTo>
                <a:lnTo>
                  <a:pt x="1203" y="145"/>
                </a:lnTo>
                <a:cubicBezTo>
                  <a:pt x="1178" y="145"/>
                  <a:pt x="1126" y="134"/>
                  <a:pt x="1066" y="121"/>
                </a:cubicBezTo>
                <a:cubicBezTo>
                  <a:pt x="974" y="102"/>
                  <a:pt x="860" y="78"/>
                  <a:pt x="772" y="78"/>
                </a:cubicBezTo>
                <a:cubicBezTo>
                  <a:pt x="690" y="78"/>
                  <a:pt x="641" y="100"/>
                  <a:pt x="625" y="142"/>
                </a:cubicBezTo>
                <a:cubicBezTo>
                  <a:pt x="609" y="100"/>
                  <a:pt x="560" y="78"/>
                  <a:pt x="478" y="78"/>
                </a:cubicBezTo>
                <a:cubicBezTo>
                  <a:pt x="389" y="78"/>
                  <a:pt x="275" y="102"/>
                  <a:pt x="184" y="121"/>
                </a:cubicBezTo>
                <a:cubicBezTo>
                  <a:pt x="124" y="134"/>
                  <a:pt x="72" y="145"/>
                  <a:pt x="46" y="145"/>
                </a:cubicBezTo>
                <a:lnTo>
                  <a:pt x="30" y="145"/>
                </a:lnTo>
                <a:lnTo>
                  <a:pt x="30" y="220"/>
                </a:lnTo>
                <a:lnTo>
                  <a:pt x="0" y="222"/>
                </a:lnTo>
                <a:lnTo>
                  <a:pt x="0" y="999"/>
                </a:lnTo>
                <a:cubicBezTo>
                  <a:pt x="0" y="999"/>
                  <a:pt x="513" y="871"/>
                  <a:pt x="625" y="983"/>
                </a:cubicBezTo>
                <a:cubicBezTo>
                  <a:pt x="741" y="867"/>
                  <a:pt x="1250" y="999"/>
                  <a:pt x="1250" y="999"/>
                </a:cubicBezTo>
                <a:lnTo>
                  <a:pt x="1250" y="222"/>
                </a:lnTo>
                <a:lnTo>
                  <a:pt x="1219" y="220"/>
                </a:lnTo>
                <a:close/>
                <a:moveTo>
                  <a:pt x="615" y="928"/>
                </a:moveTo>
                <a:cubicBezTo>
                  <a:pt x="615" y="782"/>
                  <a:pt x="46" y="882"/>
                  <a:pt x="46" y="882"/>
                </a:cubicBezTo>
                <a:lnTo>
                  <a:pt x="46" y="161"/>
                </a:lnTo>
                <a:cubicBezTo>
                  <a:pt x="150" y="161"/>
                  <a:pt x="615" y="0"/>
                  <a:pt x="615" y="176"/>
                </a:cubicBezTo>
                <a:lnTo>
                  <a:pt x="615" y="928"/>
                </a:lnTo>
                <a:close/>
                <a:moveTo>
                  <a:pt x="1203" y="882"/>
                </a:moveTo>
                <a:cubicBezTo>
                  <a:pt x="1203" y="882"/>
                  <a:pt x="634" y="782"/>
                  <a:pt x="634" y="928"/>
                </a:cubicBezTo>
                <a:lnTo>
                  <a:pt x="634" y="176"/>
                </a:lnTo>
                <a:cubicBezTo>
                  <a:pt x="634" y="0"/>
                  <a:pt x="1099" y="161"/>
                  <a:pt x="1203" y="161"/>
                </a:cubicBezTo>
                <a:lnTo>
                  <a:pt x="1203" y="882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0006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9804834-65F0-475C-B133-1A18AC8453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8897" y="614784"/>
            <a:ext cx="10157354" cy="858416"/>
          </a:xfrm>
        </p:spPr>
        <p:txBody>
          <a:bodyPr vert="horz">
            <a:normAutofit/>
          </a:bodyPr>
          <a:lstStyle/>
          <a:p>
            <a:r>
              <a:rPr lang="hi-IN" sz="5000" dirty="0"/>
              <a:t>विषय एवं पाठ्यक्रम</a:t>
            </a:r>
            <a:endParaRPr lang="en-US" sz="5000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1343473" y="1795613"/>
            <a:ext cx="5629501" cy="4470400"/>
          </a:xfrm>
        </p:spPr>
        <p:txBody>
          <a:bodyPr>
            <a:noAutofit/>
          </a:bodyPr>
          <a:lstStyle/>
          <a:p>
            <a:r>
              <a:rPr lang="en-IN" sz="2000" dirty="0"/>
              <a:t>इकाई - 1 :- </a:t>
            </a:r>
            <a:r>
              <a:rPr lang="hi-IN" sz="2000" dirty="0"/>
              <a:t>लेखन दक्षता का विकास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lvl="1"/>
            <a:r>
              <a:rPr lang="hi-IN" sz="1600" dirty="0"/>
              <a:t>कार्यालयी हिंदी</a:t>
            </a:r>
            <a:endParaRPr lang="en-US" sz="1600" dirty="0"/>
          </a:p>
          <a:p>
            <a:pPr lvl="1"/>
            <a:endParaRPr lang="hi-IN" sz="1600" dirty="0"/>
          </a:p>
          <a:p>
            <a:pPr lvl="1"/>
            <a:r>
              <a:rPr lang="hi-IN" sz="1600" dirty="0"/>
              <a:t>व्यावसायिक हिंदी</a:t>
            </a:r>
            <a:endParaRPr lang="en-US" sz="1600" dirty="0"/>
          </a:p>
          <a:p>
            <a:pPr lvl="1"/>
            <a:endParaRPr lang="hi-IN" sz="1600" dirty="0"/>
          </a:p>
          <a:p>
            <a:pPr lvl="1"/>
            <a:r>
              <a:rPr lang="hi-IN" sz="1600" dirty="0"/>
              <a:t>टिप्पण और प्रारूपण : सामान्य परिचय </a:t>
            </a:r>
            <a:endParaRPr lang="en-US" sz="1600" dirty="0"/>
          </a:p>
          <a:p>
            <a:pPr lvl="1"/>
            <a:endParaRPr lang="hi-IN" sz="1600" dirty="0"/>
          </a:p>
          <a:p>
            <a:pPr lvl="1"/>
            <a:r>
              <a:rPr lang="hi-IN" sz="1600" dirty="0"/>
              <a:t>प्रतिवेदन और विज्ञप्ति का महत्व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5545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9804834-65F0-475C-B133-1A18AC8453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8897" y="614784"/>
            <a:ext cx="10157354" cy="858416"/>
          </a:xfrm>
        </p:spPr>
        <p:txBody>
          <a:bodyPr vert="horz">
            <a:normAutofit/>
          </a:bodyPr>
          <a:lstStyle/>
          <a:p>
            <a:r>
              <a:rPr lang="hi-IN" sz="5000" dirty="0"/>
              <a:t>विषय एवं पाठ्यक्रम</a:t>
            </a:r>
            <a:endParaRPr lang="en-US" sz="5000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1343473" y="1795613"/>
            <a:ext cx="5629501" cy="4470400"/>
          </a:xfrm>
        </p:spPr>
        <p:txBody>
          <a:bodyPr>
            <a:noAutofit/>
          </a:bodyPr>
          <a:lstStyle/>
          <a:p>
            <a:r>
              <a:rPr lang="en-IN" sz="2000" dirty="0"/>
              <a:t>इकाई - 2 :- </a:t>
            </a:r>
            <a:r>
              <a:rPr lang="hi-IN" sz="2000" dirty="0"/>
              <a:t>औपचारिक लेखन के प्रकार</a:t>
            </a:r>
            <a:endParaRPr lang="en-US" sz="2000" dirty="0"/>
          </a:p>
          <a:p>
            <a:endParaRPr lang="en-US" sz="2000"/>
          </a:p>
          <a:p>
            <a:pPr lvl="1"/>
            <a:r>
              <a:rPr lang="hi-IN" sz="1600" dirty="0"/>
              <a:t>स्ववृत्त लेखन</a:t>
            </a:r>
            <a:endParaRPr lang="en-US" sz="1600" dirty="0"/>
          </a:p>
          <a:p>
            <a:pPr lvl="1"/>
            <a:endParaRPr lang="hi-IN" sz="1600" dirty="0"/>
          </a:p>
          <a:p>
            <a:pPr lvl="1"/>
            <a:r>
              <a:rPr lang="hi-IN" sz="1600" dirty="0"/>
              <a:t>सूचना के अधिकार के लिए लेखन </a:t>
            </a:r>
            <a:endParaRPr lang="en-US" sz="1600" dirty="0"/>
          </a:p>
          <a:p>
            <a:pPr lvl="1"/>
            <a:endParaRPr lang="hi-IN" sz="1600" dirty="0"/>
          </a:p>
          <a:p>
            <a:pPr lvl="1"/>
            <a:r>
              <a:rPr lang="hi-IN" sz="1600" dirty="0"/>
              <a:t>कार्यालयी और व्यावसायिक पत्र लेखन </a:t>
            </a:r>
            <a:endParaRPr lang="en-US" sz="1600" dirty="0"/>
          </a:p>
          <a:p>
            <a:pPr lvl="1"/>
            <a:endParaRPr lang="hi-IN" sz="1600" dirty="0"/>
          </a:p>
          <a:p>
            <a:pPr lvl="1"/>
            <a:r>
              <a:rPr lang="hi-IN" sz="1600" dirty="0"/>
              <a:t>किसी व्यावसायिक कार्यक्रम के सन्दर्भ में प्रेस विज्ञप्ति तैयार करना</a:t>
            </a:r>
          </a:p>
        </p:txBody>
      </p:sp>
    </p:spTree>
    <p:extLst>
      <p:ext uri="{BB962C8B-B14F-4D97-AF65-F5344CB8AC3E}">
        <p14:creationId xmlns:p14="http://schemas.microsoft.com/office/powerpoint/2010/main" val="294498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7000"/>
                <a:hueMod val="88000"/>
                <a:satMod val="130000"/>
                <a:lumMod val="124000"/>
              </a:schemeClr>
            </a:gs>
            <a:gs pos="100000">
              <a:schemeClr val="bg2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5CCDCE-63C2-8340-B4B8-F5B46624F9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9882090" cy="3329581"/>
          </a:xfrm>
        </p:spPr>
        <p:txBody>
          <a:bodyPr anchor="ctr">
            <a:normAutofit/>
          </a:bodyPr>
          <a:lstStyle/>
          <a:p>
            <a:pPr algn="ctr"/>
            <a:r>
              <a:rPr lang="hi-IN" sz="6000" b="1" u="sng" strike="noStrike" dirty="0">
                <a:effectLst/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और ब्लॉग लेखन (हिंदी-ग)</a:t>
            </a:r>
            <a:r>
              <a:rPr lang="hi-IN" sz="6000" b="1" u="none" strike="noStrike" dirty="0">
                <a:effectLst/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endParaRPr lang="en-US" sz="6000" b="1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EFC119D-E838-7A4D-96EC-770A7CC406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93263" y="4777380"/>
            <a:ext cx="8805474" cy="861420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en-US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उन छात्राओं के लिए जिन्होंने </a:t>
            </a:r>
            <a:r>
              <a:rPr 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8 </a:t>
            </a:r>
            <a:r>
              <a:rPr lang="hi-IN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वीं कक्षा तक हिंदी पढ़ी है</a:t>
            </a:r>
            <a:r>
              <a:rPr 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3200" dirty="0">
                <a:latin typeface="Kokila" panose="020B0604020202020204" pitchFamily="34" charset="0"/>
                <a:cs typeface="Kokila" panose="020B0604020202020204" pitchFamily="34" charset="0"/>
              </a:rPr>
              <a:t>।</a:t>
            </a:r>
            <a:endParaRPr lang="en-US" sz="3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en-US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redits -2</a:t>
            </a:r>
          </a:p>
        </p:txBody>
      </p:sp>
    </p:spTree>
    <p:extLst>
      <p:ext uri="{BB962C8B-B14F-4D97-AF65-F5344CB8AC3E}">
        <p14:creationId xmlns:p14="http://schemas.microsoft.com/office/powerpoint/2010/main" val="4294331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7">
            <a:extLst>
              <a:ext uri="{FF2B5EF4-FFF2-40B4-BE49-F238E27FC236}">
                <a16:creationId xmlns:a16="http://schemas.microsoft.com/office/drawing/2014/main" xmlns="" id="{54309F57-B331-41A7-9154-15EC2AF45A6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>
            <a:off x="0" y="0"/>
            <a:ext cx="8845162" cy="6858000"/>
          </a:xfrm>
          <a:custGeom>
            <a:avLst/>
            <a:gdLst>
              <a:gd name="connsiteX0" fmla="*/ 0 w 8845162"/>
              <a:gd name="connsiteY0" fmla="*/ 0 h 6858000"/>
              <a:gd name="connsiteX1" fmla="*/ 6265248 w 8845162"/>
              <a:gd name="connsiteY1" fmla="*/ 0 h 6858000"/>
              <a:gd name="connsiteX2" fmla="*/ 7537703 w 8845162"/>
              <a:gd name="connsiteY2" fmla="*/ 0 h 6858000"/>
              <a:gd name="connsiteX3" fmla="*/ 8845162 w 8845162"/>
              <a:gd name="connsiteY3" fmla="*/ 0 h 6858000"/>
              <a:gd name="connsiteX4" fmla="*/ 8845162 w 8845162"/>
              <a:gd name="connsiteY4" fmla="*/ 6858000 h 6858000"/>
              <a:gd name="connsiteX5" fmla="*/ 7537703 w 8845162"/>
              <a:gd name="connsiteY5" fmla="*/ 6858000 h 6858000"/>
              <a:gd name="connsiteX6" fmla="*/ 6265248 w 8845162"/>
              <a:gd name="connsiteY6" fmla="*/ 6858000 h 6858000"/>
              <a:gd name="connsiteX7" fmla="*/ 20957 w 8845162"/>
              <a:gd name="connsiteY7" fmla="*/ 6858000 h 6858000"/>
              <a:gd name="connsiteX8" fmla="*/ 46002 w 8845162"/>
              <a:gd name="connsiteY8" fmla="*/ 6702325 h 6858000"/>
              <a:gd name="connsiteX9" fmla="*/ 69870 w 8845162"/>
              <a:gd name="connsiteY9" fmla="*/ 6547334 h 6858000"/>
              <a:gd name="connsiteX10" fmla="*/ 93234 w 8845162"/>
              <a:gd name="connsiteY10" fmla="*/ 6391658 h 6858000"/>
              <a:gd name="connsiteX11" fmla="*/ 113237 w 8845162"/>
              <a:gd name="connsiteY11" fmla="*/ 6235295 h 6858000"/>
              <a:gd name="connsiteX12" fmla="*/ 133409 w 8845162"/>
              <a:gd name="connsiteY12" fmla="*/ 6079619 h 6858000"/>
              <a:gd name="connsiteX13" fmla="*/ 152234 w 8845162"/>
              <a:gd name="connsiteY13" fmla="*/ 5923256 h 6858000"/>
              <a:gd name="connsiteX14" fmla="*/ 168370 w 8845162"/>
              <a:gd name="connsiteY14" fmla="*/ 5768951 h 6858000"/>
              <a:gd name="connsiteX15" fmla="*/ 183667 w 8845162"/>
              <a:gd name="connsiteY15" fmla="*/ 5612589 h 6858000"/>
              <a:gd name="connsiteX16" fmla="*/ 197619 w 8845162"/>
              <a:gd name="connsiteY16" fmla="*/ 5456912 h 6858000"/>
              <a:gd name="connsiteX17" fmla="*/ 209720 w 8845162"/>
              <a:gd name="connsiteY17" fmla="*/ 5303979 h 6858000"/>
              <a:gd name="connsiteX18" fmla="*/ 221823 w 8845162"/>
              <a:gd name="connsiteY18" fmla="*/ 5148988 h 6858000"/>
              <a:gd name="connsiteX19" fmla="*/ 231908 w 8845162"/>
              <a:gd name="connsiteY19" fmla="*/ 4996055 h 6858000"/>
              <a:gd name="connsiteX20" fmla="*/ 239808 w 8845162"/>
              <a:gd name="connsiteY20" fmla="*/ 4843121 h 6858000"/>
              <a:gd name="connsiteX21" fmla="*/ 248045 w 8845162"/>
              <a:gd name="connsiteY21" fmla="*/ 4690874 h 6858000"/>
              <a:gd name="connsiteX22" fmla="*/ 254936 w 8845162"/>
              <a:gd name="connsiteY22" fmla="*/ 4539998 h 6858000"/>
              <a:gd name="connsiteX23" fmla="*/ 259811 w 8845162"/>
              <a:gd name="connsiteY23" fmla="*/ 4390493 h 6858000"/>
              <a:gd name="connsiteX24" fmla="*/ 264014 w 8845162"/>
              <a:gd name="connsiteY24" fmla="*/ 4240989 h 6858000"/>
              <a:gd name="connsiteX25" fmla="*/ 268047 w 8845162"/>
              <a:gd name="connsiteY25" fmla="*/ 4092856 h 6858000"/>
              <a:gd name="connsiteX26" fmla="*/ 269897 w 8845162"/>
              <a:gd name="connsiteY26" fmla="*/ 3946781 h 6858000"/>
              <a:gd name="connsiteX27" fmla="*/ 271913 w 8845162"/>
              <a:gd name="connsiteY27" fmla="*/ 3800705 h 6858000"/>
              <a:gd name="connsiteX28" fmla="*/ 272922 w 8845162"/>
              <a:gd name="connsiteY28" fmla="*/ 3656687 h 6858000"/>
              <a:gd name="connsiteX29" fmla="*/ 271913 w 8845162"/>
              <a:gd name="connsiteY29" fmla="*/ 3514041 h 6858000"/>
              <a:gd name="connsiteX30" fmla="*/ 271913 w 8845162"/>
              <a:gd name="connsiteY30" fmla="*/ 3372766 h 6858000"/>
              <a:gd name="connsiteX31" fmla="*/ 269897 w 8845162"/>
              <a:gd name="connsiteY31" fmla="*/ 3232863 h 6858000"/>
              <a:gd name="connsiteX32" fmla="*/ 266871 w 8845162"/>
              <a:gd name="connsiteY32" fmla="*/ 3095703 h 6858000"/>
              <a:gd name="connsiteX33" fmla="*/ 264014 w 8845162"/>
              <a:gd name="connsiteY33" fmla="*/ 2959915 h 6858000"/>
              <a:gd name="connsiteX34" fmla="*/ 260820 w 8845162"/>
              <a:gd name="connsiteY34" fmla="*/ 2826869 h 6858000"/>
              <a:gd name="connsiteX35" fmla="*/ 255946 w 8845162"/>
              <a:gd name="connsiteY35" fmla="*/ 2694510 h 6858000"/>
              <a:gd name="connsiteX36" fmla="*/ 250734 w 8845162"/>
              <a:gd name="connsiteY36" fmla="*/ 2564209 h 6858000"/>
              <a:gd name="connsiteX37" fmla="*/ 246028 w 8845162"/>
              <a:gd name="connsiteY37" fmla="*/ 2436650 h 6858000"/>
              <a:gd name="connsiteX38" fmla="*/ 232749 w 8845162"/>
              <a:gd name="connsiteY38" fmla="*/ 2187704 h 6858000"/>
              <a:gd name="connsiteX39" fmla="*/ 218630 w 8845162"/>
              <a:gd name="connsiteY39" fmla="*/ 1949046 h 6858000"/>
              <a:gd name="connsiteX40" fmla="*/ 203837 w 8845162"/>
              <a:gd name="connsiteY40" fmla="*/ 1719989 h 6858000"/>
              <a:gd name="connsiteX41" fmla="*/ 187532 w 8845162"/>
              <a:gd name="connsiteY41" fmla="*/ 1503276 h 6858000"/>
              <a:gd name="connsiteX42" fmla="*/ 170555 w 8845162"/>
              <a:gd name="connsiteY42" fmla="*/ 1296164 h 6858000"/>
              <a:gd name="connsiteX43" fmla="*/ 152234 w 8845162"/>
              <a:gd name="connsiteY43" fmla="*/ 1104140 h 6858000"/>
              <a:gd name="connsiteX44" fmla="*/ 134248 w 8845162"/>
              <a:gd name="connsiteY44" fmla="*/ 923775 h 6858000"/>
              <a:gd name="connsiteX45" fmla="*/ 116263 w 8845162"/>
              <a:gd name="connsiteY45" fmla="*/ 757811 h 6858000"/>
              <a:gd name="connsiteX46" fmla="*/ 99286 w 8845162"/>
              <a:gd name="connsiteY46" fmla="*/ 605564 h 6858000"/>
              <a:gd name="connsiteX47" fmla="*/ 83149 w 8845162"/>
              <a:gd name="connsiteY47" fmla="*/ 470461 h 6858000"/>
              <a:gd name="connsiteX48" fmla="*/ 67853 w 8845162"/>
              <a:gd name="connsiteY48" fmla="*/ 348389 h 6858000"/>
              <a:gd name="connsiteX49" fmla="*/ 55078 w 8845162"/>
              <a:gd name="connsiteY49" fmla="*/ 245519 h 6858000"/>
              <a:gd name="connsiteX50" fmla="*/ 42976 w 8845162"/>
              <a:gd name="connsiteY50" fmla="*/ 159108 h 6858000"/>
              <a:gd name="connsiteX51" fmla="*/ 25662 w 8845162"/>
              <a:gd name="connsiteY51" fmla="*/ 40464 h 6858000"/>
              <a:gd name="connsiteX52" fmla="*/ 19779 w 8845162"/>
              <a:gd name="connsiteY52" fmla="*/ 2 h 6858000"/>
              <a:gd name="connsiteX53" fmla="*/ 26532 w 8845162"/>
              <a:gd name="connsiteY53" fmla="*/ 2 h 6858000"/>
              <a:gd name="connsiteX54" fmla="*/ 26532 w 8845162"/>
              <a:gd name="connsiteY54" fmla="*/ 1 h 6858000"/>
              <a:gd name="connsiteX55" fmla="*/ 0 w 8845162"/>
              <a:gd name="connsiteY55" fmla="*/ 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8845162" h="6858000">
                <a:moveTo>
                  <a:pt x="0" y="0"/>
                </a:moveTo>
                <a:lnTo>
                  <a:pt x="6265248" y="0"/>
                </a:lnTo>
                <a:lnTo>
                  <a:pt x="7537703" y="0"/>
                </a:lnTo>
                <a:lnTo>
                  <a:pt x="8845162" y="0"/>
                </a:lnTo>
                <a:lnTo>
                  <a:pt x="8845162" y="6858000"/>
                </a:lnTo>
                <a:lnTo>
                  <a:pt x="7537703" y="6858000"/>
                </a:lnTo>
                <a:lnTo>
                  <a:pt x="6265248" y="6858000"/>
                </a:lnTo>
                <a:lnTo>
                  <a:pt x="20957" y="6858000"/>
                </a:lnTo>
                <a:lnTo>
                  <a:pt x="46002" y="6702325"/>
                </a:lnTo>
                <a:lnTo>
                  <a:pt x="69870" y="6547334"/>
                </a:lnTo>
                <a:lnTo>
                  <a:pt x="93234" y="6391658"/>
                </a:lnTo>
                <a:lnTo>
                  <a:pt x="113237" y="6235295"/>
                </a:lnTo>
                <a:lnTo>
                  <a:pt x="133409" y="6079619"/>
                </a:lnTo>
                <a:lnTo>
                  <a:pt x="152234" y="5923256"/>
                </a:lnTo>
                <a:lnTo>
                  <a:pt x="168370" y="5768951"/>
                </a:lnTo>
                <a:lnTo>
                  <a:pt x="183667" y="5612589"/>
                </a:lnTo>
                <a:lnTo>
                  <a:pt x="197619" y="5456912"/>
                </a:lnTo>
                <a:lnTo>
                  <a:pt x="209720" y="5303979"/>
                </a:lnTo>
                <a:lnTo>
                  <a:pt x="221823" y="5148988"/>
                </a:lnTo>
                <a:lnTo>
                  <a:pt x="231908" y="4996055"/>
                </a:lnTo>
                <a:lnTo>
                  <a:pt x="239808" y="4843121"/>
                </a:lnTo>
                <a:lnTo>
                  <a:pt x="248045" y="4690874"/>
                </a:lnTo>
                <a:lnTo>
                  <a:pt x="254936" y="4539998"/>
                </a:lnTo>
                <a:lnTo>
                  <a:pt x="259811" y="4390493"/>
                </a:lnTo>
                <a:lnTo>
                  <a:pt x="264014" y="4240989"/>
                </a:lnTo>
                <a:lnTo>
                  <a:pt x="268047" y="4092856"/>
                </a:lnTo>
                <a:lnTo>
                  <a:pt x="269897" y="3946781"/>
                </a:lnTo>
                <a:lnTo>
                  <a:pt x="271913" y="3800705"/>
                </a:lnTo>
                <a:lnTo>
                  <a:pt x="272922" y="3656687"/>
                </a:lnTo>
                <a:lnTo>
                  <a:pt x="271913" y="3514041"/>
                </a:lnTo>
                <a:lnTo>
                  <a:pt x="271913" y="3372766"/>
                </a:lnTo>
                <a:lnTo>
                  <a:pt x="269897" y="3232863"/>
                </a:lnTo>
                <a:lnTo>
                  <a:pt x="266871" y="3095703"/>
                </a:lnTo>
                <a:lnTo>
                  <a:pt x="264014" y="2959915"/>
                </a:lnTo>
                <a:lnTo>
                  <a:pt x="260820" y="2826869"/>
                </a:lnTo>
                <a:lnTo>
                  <a:pt x="255946" y="2694510"/>
                </a:lnTo>
                <a:lnTo>
                  <a:pt x="250734" y="2564209"/>
                </a:lnTo>
                <a:lnTo>
                  <a:pt x="246028" y="2436650"/>
                </a:lnTo>
                <a:lnTo>
                  <a:pt x="232749" y="2187704"/>
                </a:lnTo>
                <a:lnTo>
                  <a:pt x="218630" y="1949046"/>
                </a:lnTo>
                <a:lnTo>
                  <a:pt x="203837" y="1719989"/>
                </a:lnTo>
                <a:lnTo>
                  <a:pt x="187532" y="1503276"/>
                </a:lnTo>
                <a:lnTo>
                  <a:pt x="170555" y="1296164"/>
                </a:lnTo>
                <a:lnTo>
                  <a:pt x="152234" y="1104140"/>
                </a:lnTo>
                <a:lnTo>
                  <a:pt x="134248" y="923775"/>
                </a:lnTo>
                <a:lnTo>
                  <a:pt x="116263" y="757811"/>
                </a:lnTo>
                <a:lnTo>
                  <a:pt x="99286" y="605564"/>
                </a:lnTo>
                <a:lnTo>
                  <a:pt x="83149" y="470461"/>
                </a:lnTo>
                <a:lnTo>
                  <a:pt x="67853" y="348389"/>
                </a:lnTo>
                <a:lnTo>
                  <a:pt x="55078" y="245519"/>
                </a:lnTo>
                <a:lnTo>
                  <a:pt x="42976" y="159108"/>
                </a:lnTo>
                <a:lnTo>
                  <a:pt x="25662" y="40464"/>
                </a:lnTo>
                <a:lnTo>
                  <a:pt x="19779" y="2"/>
                </a:lnTo>
                <a:lnTo>
                  <a:pt x="26532" y="2"/>
                </a:lnTo>
                <a:lnTo>
                  <a:pt x="26532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75799AA-5C20-6547-AA1C-D40EEB402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228600"/>
            <a:ext cx="7402285" cy="2400300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hi-IN" sz="2800" b="1" dirty="0">
                <a:latin typeface="Kokila" panose="020B0604020202020204" pitchFamily="34" charset="0"/>
                <a:cs typeface="Kokila" panose="020B0604020202020204" pitchFamily="34" charset="0"/>
              </a:rPr>
              <a:t>पाठ्यक्रम का उद्देश्य (</a:t>
            </a:r>
            <a:r>
              <a:rPr lang="en-US" sz="2800" b="1" dirty="0">
                <a:latin typeface="Kokila" panose="020B0604020202020204" pitchFamily="34" charset="0"/>
                <a:cs typeface="Kokila" panose="020B0604020202020204" pitchFamily="34" charset="0"/>
              </a:rPr>
              <a:t>Course Objectives)</a:t>
            </a:r>
            <a:br>
              <a:rPr lang="en-US" sz="2800" b="1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800" b="1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*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हिंदी सोशल मीडिया के विभिन्न माध्यमों की जानकारी</a:t>
            </a:r>
            <a:b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*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 सोशल मीडिया की कार्यशैली की समझ </a:t>
            </a:r>
            <a:b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*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के महत्व और प्रभाव से मूल्यांकन</a:t>
            </a:r>
            <a:b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*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ब्लॉग बनाना और लेखन</a:t>
            </a:r>
            <a:b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*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का व्यावहारिक ज्ञान</a:t>
            </a:r>
            <a:endParaRPr lang="en-US" sz="2800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F6EDEF1-A087-0F4E-87BE-D1E76A8DFD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843" y="2808514"/>
            <a:ext cx="7952014" cy="354874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hi-IN" sz="2800" b="1" dirty="0">
                <a:latin typeface="Kokila" panose="020B0604020202020204" pitchFamily="34" charset="0"/>
                <a:cs typeface="Kokila" panose="020B0604020202020204" pitchFamily="34" charset="0"/>
              </a:rPr>
              <a:t>पाठ्यक्रम अधिगम प्रतिफल ( </a:t>
            </a:r>
            <a:r>
              <a:rPr lang="en-US" sz="2800" b="1" dirty="0">
                <a:latin typeface="Kokila" panose="020B0604020202020204" pitchFamily="34" charset="0"/>
                <a:cs typeface="Kokila" panose="020B0604020202020204" pitchFamily="34" charset="0"/>
              </a:rPr>
              <a:t>Course Learning Outcomes):</a:t>
            </a:r>
          </a:p>
          <a:p>
            <a:pPr marL="0" indent="0">
              <a:buNone/>
            </a:pP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  *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प्लेटफॉर्म की जानकारी मिलेगी ।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</a:p>
          <a:p>
            <a:pPr marL="0" indent="0">
              <a:buNone/>
            </a:pP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  *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की कार्य- शैली की समझ विकसित होगी ।</a:t>
            </a:r>
            <a:endParaRPr lang="en-US" sz="2800" dirty="0">
              <a:latin typeface="Kokila" panose="020B0604020202020204" pitchFamily="34" charset="0"/>
              <a:cs typeface="Kokila" panose="020B0604020202020204" pitchFamily="34" charset="0"/>
            </a:endParaRPr>
          </a:p>
          <a:p>
            <a:pPr marL="0" indent="0">
              <a:buNone/>
            </a:pP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  *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ब्लॉग लेखन करने के साथ हिंदी के प्रमुख ब्लॉगों का अध्ययन और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b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    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विश्लेषण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कर सकेंगे ।</a:t>
            </a:r>
            <a:endParaRPr lang="en-US" sz="2800" dirty="0">
              <a:latin typeface="Kokila" panose="020B0604020202020204" pitchFamily="34" charset="0"/>
              <a:cs typeface="Kokila" panose="020B0604020202020204" pitchFamily="34" charset="0"/>
            </a:endParaRPr>
          </a:p>
          <a:p>
            <a:pPr marL="0" indent="0">
              <a:buNone/>
            </a:pP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  *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के महत्व और उसकी भूमिका को रेखांकित कर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केंगे ।</a:t>
            </a:r>
            <a:endParaRPr lang="en-US" sz="2800" dirty="0">
              <a:latin typeface="Kokila" panose="020B0604020202020204" pitchFamily="34" charset="0"/>
              <a:cs typeface="Kokila" panose="020B0604020202020204" pitchFamily="34" charset="0"/>
            </a:endParaRPr>
          </a:p>
          <a:p>
            <a:pPr marL="0" indent="0">
              <a:buNone/>
            </a:pP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  *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विद्यार्थी सोशल मीडिया पर कार्य करना सीख सकेंगे ।</a:t>
            </a:r>
            <a:endParaRPr lang="en-US" sz="2800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533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B2A8B43-E288-418B-8561-C979F7B9CC4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82584CD3-40DA-4BB8-B4B7-D8D04BB31B4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0568"/>
            <a:ext cx="12188825" cy="6856214"/>
          </a:xfrm>
          <a:prstGeom prst="rect">
            <a:avLst/>
          </a:prstGeom>
        </p:spPr>
      </p:pic>
      <p:sp useBgFill="1">
        <p:nvSpPr>
          <p:cNvPr id="12" name="Freeform: Shape 11">
            <a:extLst>
              <a:ext uri="{FF2B5EF4-FFF2-40B4-BE49-F238E27FC236}">
                <a16:creationId xmlns:a16="http://schemas.microsoft.com/office/drawing/2014/main" xmlns="" id="{F40D237A-4D9F-42DC-BAEB-E07EDD74BE2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flipH="1">
            <a:off x="0" y="0"/>
            <a:ext cx="10541643" cy="6858000"/>
          </a:xfrm>
          <a:custGeom>
            <a:avLst/>
            <a:gdLst>
              <a:gd name="connsiteX0" fmla="*/ 10541643 w 10541643"/>
              <a:gd name="connsiteY0" fmla="*/ 0 h 6858000"/>
              <a:gd name="connsiteX1" fmla="*/ 8414569 w 10541643"/>
              <a:gd name="connsiteY1" fmla="*/ 0 h 6858000"/>
              <a:gd name="connsiteX2" fmla="*/ 7787557 w 10541643"/>
              <a:gd name="connsiteY2" fmla="*/ 0 h 6858000"/>
              <a:gd name="connsiteX3" fmla="*/ 5640889 w 10541643"/>
              <a:gd name="connsiteY3" fmla="*/ 0 h 6858000"/>
              <a:gd name="connsiteX4" fmla="*/ 1682914 w 10541643"/>
              <a:gd name="connsiteY4" fmla="*/ 0 h 6858000"/>
              <a:gd name="connsiteX5" fmla="*/ 0 w 10541643"/>
              <a:gd name="connsiteY5" fmla="*/ 6858000 h 6858000"/>
              <a:gd name="connsiteX6" fmla="*/ 5640889 w 10541643"/>
              <a:gd name="connsiteY6" fmla="*/ 6858000 h 6858000"/>
              <a:gd name="connsiteX7" fmla="*/ 6731655 w 10541643"/>
              <a:gd name="connsiteY7" fmla="*/ 6858000 h 6858000"/>
              <a:gd name="connsiteX8" fmla="*/ 7787557 w 10541643"/>
              <a:gd name="connsiteY8" fmla="*/ 6858000 h 6858000"/>
              <a:gd name="connsiteX9" fmla="*/ 8414569 w 10541643"/>
              <a:gd name="connsiteY9" fmla="*/ 6858000 h 6858000"/>
              <a:gd name="connsiteX10" fmla="*/ 10541643 w 10541643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541643" h="6858000">
                <a:moveTo>
                  <a:pt x="10541643" y="0"/>
                </a:moveTo>
                <a:lnTo>
                  <a:pt x="8414569" y="0"/>
                </a:lnTo>
                <a:lnTo>
                  <a:pt x="7787557" y="0"/>
                </a:lnTo>
                <a:lnTo>
                  <a:pt x="5640889" y="0"/>
                </a:lnTo>
                <a:lnTo>
                  <a:pt x="1682914" y="0"/>
                </a:lnTo>
                <a:lnTo>
                  <a:pt x="0" y="6858000"/>
                </a:lnTo>
                <a:lnTo>
                  <a:pt x="5640889" y="6858000"/>
                </a:lnTo>
                <a:lnTo>
                  <a:pt x="6731655" y="6858000"/>
                </a:lnTo>
                <a:lnTo>
                  <a:pt x="7787557" y="6858000"/>
                </a:lnTo>
                <a:lnTo>
                  <a:pt x="8414569" y="6858000"/>
                </a:lnTo>
                <a:lnTo>
                  <a:pt x="10541643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A0E7EA7-7899-5D41-B9DF-7E09253C6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2" y="457200"/>
            <a:ext cx="7739741" cy="2579914"/>
          </a:xfrm>
        </p:spPr>
        <p:txBody>
          <a:bodyPr anchor="b">
            <a:noAutofit/>
          </a:bodyPr>
          <a:lstStyle/>
          <a:p>
            <a:pPr>
              <a:lnSpc>
                <a:spcPct val="90000"/>
              </a:lnSpc>
            </a:pPr>
            <a:r>
              <a:rPr lang="hi-IN" sz="2800" b="1" dirty="0">
                <a:latin typeface="Kokila" panose="020B0604020202020204" pitchFamily="34" charset="0"/>
                <a:cs typeface="Kokila" panose="020B0604020202020204" pitchFamily="34" charset="0"/>
              </a:rPr>
              <a:t>इकाई 1. सोशल मीडिया और ब्लॉग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/>
            </a:r>
            <a:b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: अर्थ और परिभाषा</a:t>
            </a:r>
            <a:b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का प्रभाव और महत्व</a:t>
            </a:r>
            <a:b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के प्रकार (विकीपीडिया, ब्लॉग, सोशल नेटवर्किंग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साइट्स, ट्विटर, यूट्यूब, इन्स्टाग्राम आदि )</a:t>
            </a:r>
            <a: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  <a:t/>
            </a:r>
            <a:br>
              <a:rPr lang="en-US" sz="28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800" dirty="0">
                <a:latin typeface="Kokila" panose="020B0604020202020204" pitchFamily="34" charset="0"/>
                <a:cs typeface="Kokila" panose="020B0604020202020204" pitchFamily="34" charset="0"/>
              </a:rPr>
              <a:t>ब्लॉग लेखन: सामान्य परिचय</a:t>
            </a:r>
            <a:endParaRPr lang="en-US" sz="2800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CEC23A5-108A-F74C-A997-56BA7FDB8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2" y="3037114"/>
            <a:ext cx="8866411" cy="32112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i-IN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इकाई 2 : सोशल मीडिया का व्यावहारिक पक्ष</a:t>
            </a:r>
          </a:p>
          <a:p>
            <a:pPr marL="0" indent="0">
              <a:buNone/>
            </a:pP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किसी सामाजिक अभियान के प्रचार के लिए सोशल मीडिया हेतु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एक विज्ञापन तैयार करना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।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  <a:p>
            <a:pPr marL="0" indent="0">
              <a:buNone/>
            </a:pP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अपना निजी ब्लॉग तैयार करने की प्रक्रिया ।</a:t>
            </a:r>
          </a:p>
          <a:p>
            <a:pPr marL="0" indent="0">
              <a:buNone/>
            </a:pP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से बनने वाली किसी खबर पर रिपोर्ट तैयार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करना ।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  <a:p>
            <a:pPr marL="0" indent="0">
              <a:buNone/>
            </a:pP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सोशल मीडिया से सम्बन्धित विविध विषयों पर आलेख तैयार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करना ।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4101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B2A8B43-E288-418B-8561-C979F7B9CC4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82584CD3-40DA-4BB8-B4B7-D8D04BB31B4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0568"/>
            <a:ext cx="12188825" cy="6856214"/>
          </a:xfrm>
          <a:prstGeom prst="rect">
            <a:avLst/>
          </a:prstGeom>
        </p:spPr>
      </p:pic>
      <p:sp useBgFill="1">
        <p:nvSpPr>
          <p:cNvPr id="12" name="Freeform: Shape 11">
            <a:extLst>
              <a:ext uri="{FF2B5EF4-FFF2-40B4-BE49-F238E27FC236}">
                <a16:creationId xmlns:a16="http://schemas.microsoft.com/office/drawing/2014/main" xmlns="" id="{F40D237A-4D9F-42DC-BAEB-E07EDD74BE2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flipH="1">
            <a:off x="0" y="0"/>
            <a:ext cx="10541643" cy="6858000"/>
          </a:xfrm>
          <a:custGeom>
            <a:avLst/>
            <a:gdLst>
              <a:gd name="connsiteX0" fmla="*/ 10541643 w 10541643"/>
              <a:gd name="connsiteY0" fmla="*/ 0 h 6858000"/>
              <a:gd name="connsiteX1" fmla="*/ 8414569 w 10541643"/>
              <a:gd name="connsiteY1" fmla="*/ 0 h 6858000"/>
              <a:gd name="connsiteX2" fmla="*/ 7787557 w 10541643"/>
              <a:gd name="connsiteY2" fmla="*/ 0 h 6858000"/>
              <a:gd name="connsiteX3" fmla="*/ 5640889 w 10541643"/>
              <a:gd name="connsiteY3" fmla="*/ 0 h 6858000"/>
              <a:gd name="connsiteX4" fmla="*/ 1682914 w 10541643"/>
              <a:gd name="connsiteY4" fmla="*/ 0 h 6858000"/>
              <a:gd name="connsiteX5" fmla="*/ 0 w 10541643"/>
              <a:gd name="connsiteY5" fmla="*/ 6858000 h 6858000"/>
              <a:gd name="connsiteX6" fmla="*/ 5640889 w 10541643"/>
              <a:gd name="connsiteY6" fmla="*/ 6858000 h 6858000"/>
              <a:gd name="connsiteX7" fmla="*/ 6731655 w 10541643"/>
              <a:gd name="connsiteY7" fmla="*/ 6858000 h 6858000"/>
              <a:gd name="connsiteX8" fmla="*/ 7787557 w 10541643"/>
              <a:gd name="connsiteY8" fmla="*/ 6858000 h 6858000"/>
              <a:gd name="connsiteX9" fmla="*/ 8414569 w 10541643"/>
              <a:gd name="connsiteY9" fmla="*/ 6858000 h 6858000"/>
              <a:gd name="connsiteX10" fmla="*/ 10541643 w 10541643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541643" h="6858000">
                <a:moveTo>
                  <a:pt x="10541643" y="0"/>
                </a:moveTo>
                <a:lnTo>
                  <a:pt x="8414569" y="0"/>
                </a:lnTo>
                <a:lnTo>
                  <a:pt x="7787557" y="0"/>
                </a:lnTo>
                <a:lnTo>
                  <a:pt x="5640889" y="0"/>
                </a:lnTo>
                <a:lnTo>
                  <a:pt x="1682914" y="0"/>
                </a:lnTo>
                <a:lnTo>
                  <a:pt x="0" y="6858000"/>
                </a:lnTo>
                <a:lnTo>
                  <a:pt x="5640889" y="6858000"/>
                </a:lnTo>
                <a:lnTo>
                  <a:pt x="6731655" y="6858000"/>
                </a:lnTo>
                <a:lnTo>
                  <a:pt x="7787557" y="6858000"/>
                </a:lnTo>
                <a:lnTo>
                  <a:pt x="8414569" y="6858000"/>
                </a:lnTo>
                <a:lnTo>
                  <a:pt x="10541643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B86CA6-811E-0B4A-805D-46025F04C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2" y="340568"/>
            <a:ext cx="7739741" cy="2890156"/>
          </a:xfrm>
        </p:spPr>
        <p:txBody>
          <a:bodyPr anchor="b">
            <a:noAutofit/>
          </a:bodyPr>
          <a:lstStyle/>
          <a:p>
            <a:pPr>
              <a:lnSpc>
                <a:spcPct val="90000"/>
              </a:lnSpc>
            </a:pPr>
            <a:r>
              <a:rPr lang="hi-IN" sz="2400" b="1" dirty="0">
                <a:latin typeface="Kokila" panose="020B0604020202020204" pitchFamily="34" charset="0"/>
                <a:cs typeface="Kokila" panose="020B0604020202020204" pitchFamily="34" charset="0"/>
              </a:rPr>
              <a:t>सहायक पुस्तकें :</a:t>
            </a:r>
            <a:r>
              <a:rPr lang="hi-IN" sz="2400" dirty="0"/>
              <a:t/>
            </a:r>
            <a:br>
              <a:rPr lang="hi-IN" sz="2400" dirty="0"/>
            </a:br>
            <a: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  <a:t>1. सामाजिक मीडिया और हम: रवीन्द्र प्रभात, नोशन प्रेस</a:t>
            </a:r>
            <a:b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  <a:t>2. सोशल मीडिया: स्वर्ण सुमन, हार्पर कॉलिन्स पब्लिशर इण्डिया</a:t>
            </a:r>
            <a:b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  <a:t>3. भूमंडलीकरण और मीडिया: कुमुद शर्मा</a:t>
            </a:r>
            <a:b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  <a:t>4. मीडिया और हिन्दी: बदलती प्रवृतियाँ: रविन्द्र जाधव, वाणी</a:t>
            </a:r>
            <a:r>
              <a:rPr lang="en-US" sz="24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  <a:t>प्रकाशन</a:t>
            </a:r>
            <a:r>
              <a:rPr lang="en-US" sz="2400" dirty="0">
                <a:latin typeface="Kokila" panose="020B0604020202020204" pitchFamily="34" charset="0"/>
                <a:cs typeface="Kokila" panose="020B0604020202020204" pitchFamily="34" charset="0"/>
              </a:rPr>
              <a:t/>
            </a:r>
            <a:br>
              <a:rPr lang="en-US" sz="24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  <a:t>5. रेडियो लेखन, मधुकर गंगाधर, बिहार हिंदी ग्रंथ अकादमी, पटना,</a:t>
            </a:r>
            <a:r>
              <a:rPr lang="en-US" sz="24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  <a:t>प्रथम संस्करण- 1974</a:t>
            </a:r>
            <a:r>
              <a:rPr lang="en-US" sz="2400" dirty="0">
                <a:latin typeface="Kokila" panose="020B0604020202020204" pitchFamily="34" charset="0"/>
                <a:cs typeface="Kokila" panose="020B0604020202020204" pitchFamily="34" charset="0"/>
              </a:rPr>
              <a:t/>
            </a:r>
            <a:br>
              <a:rPr lang="en-US" sz="2400" dirty="0">
                <a:latin typeface="Kokila" panose="020B0604020202020204" pitchFamily="34" charset="0"/>
                <a:cs typeface="Kokila" panose="020B0604020202020204" pitchFamily="34" charset="0"/>
              </a:rPr>
            </a:br>
            <a:r>
              <a:rPr lang="en-US" sz="2400" dirty="0">
                <a:latin typeface="Kokila" panose="020B0604020202020204" pitchFamily="34" charset="0"/>
                <a:cs typeface="Kokila" panose="020B0604020202020204" pitchFamily="34" charset="0"/>
              </a:rPr>
              <a:t>6. </a:t>
            </a:r>
            <a: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  <a:t>रेडियो वार्ता शिल्प, सिद्धनाथ कुमार, राधाकृष्ण प्रकाशन, नई</a:t>
            </a:r>
            <a:r>
              <a:rPr lang="en-US" sz="2400" dirty="0"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400" dirty="0">
                <a:latin typeface="Kokila" panose="020B0604020202020204" pitchFamily="34" charset="0"/>
                <a:cs typeface="Kokila" panose="020B0604020202020204" pitchFamily="34" charset="0"/>
              </a:rPr>
              <a:t>दिल्ली, प्रथम प्रकाशन- 1992</a:t>
            </a:r>
            <a:endParaRPr lang="en-US" sz="2400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A929804-C4DC-DA43-B9D1-A07E05D65A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3" y="3429000"/>
            <a:ext cx="8305798" cy="2890156"/>
          </a:xfrm>
        </p:spPr>
        <p:txBody>
          <a:bodyPr>
            <a:normAutofit/>
          </a:bodyPr>
          <a:lstStyle/>
          <a:p>
            <a:r>
              <a:rPr lang="hi-IN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मूल्यांकन पद्धति: (</a:t>
            </a: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Assessment Method)</a:t>
            </a:r>
          </a:p>
          <a:p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कुल अंक : 50</a:t>
            </a:r>
          </a:p>
          <a:p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लिखित परीक्षा : 38 अंक</a:t>
            </a:r>
          </a:p>
          <a:p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आंतरिक मूल्यांकन : 12 अंक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420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xmlns="" id="{D6D7A0BC-0046-4CAA-8E7F-DCAFE511EA0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C21E816-31F5-48BB-BD02-D15F2F18B4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1189" y="1098070"/>
            <a:ext cx="10993549" cy="540950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    </a:t>
            </a:r>
            <a:r>
              <a:rPr lang="en-US" dirty="0" smtClean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/>
            </a:r>
            <a:br>
              <a:rPr lang="en-US" dirty="0" smtClean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</a:br>
            <a:r>
              <a:rPr lang="en-US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/>
            </a:r>
            <a:br>
              <a:rPr lang="en-US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</a:br>
            <a:r>
              <a:rPr lang="en-US" dirty="0" smtClean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/>
            </a:r>
            <a:br>
              <a:rPr lang="en-US" dirty="0" smtClean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</a:br>
            <a:r>
              <a:rPr lang="en-US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/>
            </a:r>
            <a:br>
              <a:rPr lang="en-US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</a:br>
            <a:r>
              <a:rPr lang="en-US" dirty="0" smtClean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AEC </a:t>
            </a:r>
            <a:r>
              <a:rPr lang="en-US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HINDI D			</a:t>
            </a:r>
            <a:r>
              <a:rPr lang="hi-IN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क्षमता संवर्धन पाठ्यक्रम-हिंदी</a:t>
            </a:r>
            <a:r>
              <a:rPr lang="en-IN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</a:t>
            </a:r>
            <a:r>
              <a:rPr lang="hi-IN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डी</a:t>
            </a:r>
            <a:endParaRPr lang="en-US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</p:txBody>
      </p:sp>
      <p:pic>
        <p:nvPicPr>
          <p:cNvPr id="6" name="Picture 5" descr="abstract image">
            <a:extLst>
              <a:ext uri="{FF2B5EF4-FFF2-40B4-BE49-F238E27FC236}">
                <a16:creationId xmlns:a16="http://schemas.microsoft.com/office/drawing/2014/main" xmlns="" id="{F1A8C364-94D4-4630-BAD0-78722F34705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8733" y="3081867"/>
            <a:ext cx="9023071" cy="331046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xmlns="" id="{7D5F1C2A-E353-D91E-098F-D1406107311A}"/>
              </a:ext>
            </a:extLst>
          </p:cNvPr>
          <p:cNvSpPr txBox="1">
            <a:spLocks/>
          </p:cNvSpPr>
          <p:nvPr/>
        </p:nvSpPr>
        <p:spPr>
          <a:xfrm>
            <a:off x="581190" y="2345725"/>
            <a:ext cx="10993549" cy="540950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hi-IN" dirty="0">
                <a:solidFill>
                  <a:prstClr val="black">
                    <a:lumMod val="75000"/>
                    <a:lumOff val="25000"/>
                  </a:prstClr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विदेशी विद्यार्थियों के लिए 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3C355AB8-5FAB-0DEA-53E8-FE57E53F70BB}"/>
              </a:ext>
            </a:extLst>
          </p:cNvPr>
          <p:cNvSpPr txBox="1">
            <a:spLocks/>
          </p:cNvSpPr>
          <p:nvPr/>
        </p:nvSpPr>
        <p:spPr>
          <a:xfrm>
            <a:off x="9533627" y="5669687"/>
            <a:ext cx="2137914" cy="1102049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 fontScale="975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hi-IN" sz="1800" dirty="0">
                <a:solidFill>
                  <a:prstClr val="black">
                    <a:lumMod val="75000"/>
                    <a:lumOff val="25000"/>
                  </a:prstClr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डॉ. कुसुम लता</a:t>
            </a:r>
          </a:p>
          <a:p>
            <a:pPr algn="r"/>
            <a:endParaRPr lang="hi-IN" sz="1800" dirty="0">
              <a:solidFill>
                <a:prstClr val="black">
                  <a:lumMod val="75000"/>
                  <a:lumOff val="25000"/>
                </a:prstClr>
              </a:solidFill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pPr algn="r"/>
            <a:r>
              <a:rPr lang="hi-IN" sz="1800" dirty="0">
                <a:solidFill>
                  <a:prstClr val="black">
                    <a:lumMod val="75000"/>
                    <a:lumOff val="25000"/>
                  </a:prstClr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हिंदी विभाग</a:t>
            </a:r>
            <a:endParaRPr lang="en-US" sz="1800" dirty="0">
              <a:solidFill>
                <a:prstClr val="black">
                  <a:lumMod val="75000"/>
                  <a:lumOff val="25000"/>
                </a:prstClr>
              </a:solidFill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781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518160" y="409863"/>
            <a:ext cx="11257280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u="sng" dirty="0" smtClean="0">
                <a:solidFill>
                  <a:schemeClr val="accent1"/>
                </a:solidFill>
                <a:latin typeface="Century Gothic" panose="020B0502020202020204"/>
                <a:ea typeface="+mj-ea"/>
                <a:cs typeface="+mj-cs"/>
              </a:rPr>
              <a:t>ABILITY ENHANCEMENT COURSE</a:t>
            </a:r>
          </a:p>
          <a:p>
            <a:pPr algn="ctr"/>
            <a:r>
              <a:rPr lang="hi-IN" sz="2800" b="1" u="sng" dirty="0" smtClean="0">
                <a:solidFill>
                  <a:schemeClr val="accent1"/>
                </a:solidFill>
              </a:rPr>
              <a:t>योग्यता संवर्धन पाठ्यक्रम : </a:t>
            </a:r>
            <a:r>
              <a:rPr lang="en-IN" sz="2800" b="1" u="sng" dirty="0" smtClean="0">
                <a:solidFill>
                  <a:schemeClr val="accent1"/>
                </a:solidFill>
              </a:rPr>
              <a:t>AEC - IL</a:t>
            </a:r>
          </a:p>
          <a:p>
            <a:pPr algn="just"/>
            <a:endParaRPr lang="en-US" sz="2400" dirty="0" smtClean="0">
              <a:solidFill>
                <a:schemeClr val="accent1"/>
              </a:solidFill>
              <a:ea typeface="+mj-ea"/>
              <a:cs typeface="+mj-cs"/>
            </a:endParaRPr>
          </a:p>
          <a:p>
            <a:pPr algn="just"/>
            <a:r>
              <a:rPr lang="en-US" sz="2400" dirty="0" smtClean="0">
                <a:solidFill>
                  <a:schemeClr val="accent1"/>
                </a:solidFill>
                <a:ea typeface="+mj-ea"/>
                <a:cs typeface="+mj-cs"/>
              </a:rPr>
              <a:t>AEC </a:t>
            </a:r>
            <a:r>
              <a:rPr lang="en-US" sz="2400" dirty="0">
                <a:solidFill>
                  <a:schemeClr val="accent1"/>
                </a:solidFill>
                <a:ea typeface="+mj-ea"/>
                <a:cs typeface="+mj-cs"/>
              </a:rPr>
              <a:t>courses are the courses based upon the content that leads to </a:t>
            </a:r>
            <a:r>
              <a:rPr lang="en-US" sz="2400" dirty="0" smtClean="0">
                <a:solidFill>
                  <a:schemeClr val="accent1"/>
                </a:solidFill>
                <a:ea typeface="+mj-ea"/>
                <a:cs typeface="+mj-cs"/>
              </a:rPr>
              <a:t>knowledge enhancement </a:t>
            </a:r>
            <a:r>
              <a:rPr lang="en-US" sz="2400" dirty="0">
                <a:solidFill>
                  <a:schemeClr val="accent1"/>
                </a:solidFill>
                <a:ea typeface="+mj-ea"/>
                <a:cs typeface="+mj-cs"/>
              </a:rPr>
              <a:t>through various areas of study. They are Language and Literature </a:t>
            </a:r>
            <a:r>
              <a:rPr lang="en-US" sz="2400" dirty="0" smtClean="0">
                <a:solidFill>
                  <a:schemeClr val="accent1"/>
                </a:solidFill>
                <a:ea typeface="+mj-ea"/>
                <a:cs typeface="+mj-cs"/>
              </a:rPr>
              <a:t>and Environmental </a:t>
            </a:r>
            <a:r>
              <a:rPr lang="en-US" sz="2400" dirty="0">
                <a:solidFill>
                  <a:schemeClr val="accent1"/>
                </a:solidFill>
                <a:ea typeface="+mj-ea"/>
                <a:cs typeface="+mj-cs"/>
              </a:rPr>
              <a:t>Science and Sustainable Development which will be mandatory for </a:t>
            </a:r>
            <a:r>
              <a:rPr lang="en-US" sz="2400" dirty="0" smtClean="0">
                <a:solidFill>
                  <a:schemeClr val="accent1"/>
                </a:solidFill>
                <a:ea typeface="+mj-ea"/>
                <a:cs typeface="+mj-cs"/>
              </a:rPr>
              <a:t>all disciplines.</a:t>
            </a:r>
          </a:p>
          <a:p>
            <a:pPr algn="just"/>
            <a:endParaRPr lang="en-US" sz="2000" dirty="0">
              <a:solidFill>
                <a:schemeClr val="accent1"/>
              </a:solidFill>
              <a:latin typeface="Century Gothic" panose="020B0502020202020204"/>
              <a:ea typeface="+mj-ea"/>
              <a:cs typeface="+mj-cs"/>
            </a:endParaRPr>
          </a:p>
          <a:p>
            <a:pPr algn="just"/>
            <a:r>
              <a:rPr lang="en-US" sz="2400" dirty="0">
                <a:solidFill>
                  <a:srgbClr val="002060"/>
                </a:solidFill>
                <a:sym typeface="Wingdings" panose="05000000000000000000" pitchFamily="2" charset="2"/>
              </a:rPr>
              <a:t>The students can choose a language from a pool of 22 Indian languages. </a:t>
            </a:r>
          </a:p>
          <a:p>
            <a:pPr algn="just"/>
            <a:endParaRPr lang="en-US" sz="2400" dirty="0" smtClean="0">
              <a:solidFill>
                <a:schemeClr val="accent1"/>
              </a:solidFill>
              <a:latin typeface="Century Gothic" panose="020B0502020202020204"/>
              <a:ea typeface="+mj-ea"/>
              <a:cs typeface="+mj-cs"/>
            </a:endParaRPr>
          </a:p>
          <a:p>
            <a:pPr algn="just"/>
            <a:endParaRPr lang="en-US" sz="2000" dirty="0" smtClean="0">
              <a:solidFill>
                <a:schemeClr val="accent1"/>
              </a:solidFill>
              <a:latin typeface="Century Gothic" panose="020B0502020202020204"/>
              <a:ea typeface="+mj-ea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1450" y="3858768"/>
            <a:ext cx="9169179" cy="270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889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562972-3449-42D1-8185-B4BEFD52A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488289"/>
          </a:xfrm>
        </p:spPr>
        <p:txBody>
          <a:bodyPr>
            <a:noAutofit/>
          </a:bodyPr>
          <a:lstStyle/>
          <a:p>
            <a:r>
              <a:rPr lang="hi-IN" sz="3200" b="1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इकाई 1 : लिपि ज्ञान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93D36DDC-02A6-A38E-21FD-5B2B4F818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3" y="1814653"/>
            <a:ext cx="11029615" cy="3634486"/>
          </a:xfrm>
        </p:spPr>
        <p:txBody>
          <a:bodyPr anchor="t">
            <a:normAutofit/>
          </a:bodyPr>
          <a:lstStyle/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वर्ण माला : स्वर, व्यंजन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</a:t>
            </a:r>
            <a:r>
              <a:rPr lang="en-IN" sz="2400" dirty="0" err="1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Alphabet,Vowels,Consonants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)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संयुक्त व्यंजन =क्ष,त्र,ज्ञ,श्र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Consonant Combination)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अनुस्वार एवं अनुनासिक – कंबल (अनुस्वार) हँसना (अनुनासिक)</a:t>
            </a: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विराम चिन्ह –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(Punctuation)</a:t>
            </a:r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पूर्णविराम(I),प्र्श्नवाचक?),योजक(-),अल्पविराम (,)आदि</a:t>
            </a: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संज्ञा – सर्वनाम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Noun-Pronoun)</a:t>
            </a:r>
            <a:endParaRPr lang="en-IN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169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562972-3449-42D1-8185-B4BEFD52A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488289"/>
          </a:xfrm>
        </p:spPr>
        <p:txBody>
          <a:bodyPr>
            <a:noAutofit/>
          </a:bodyPr>
          <a:lstStyle/>
          <a:p>
            <a:r>
              <a:rPr lang="hi-IN" sz="3200" b="1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इकाई  : हिंदी की आधारभूत शब्दावली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93D36DDC-02A6-A38E-21FD-5B2B4F818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3" y="1440611"/>
            <a:ext cx="11029615" cy="4951563"/>
          </a:xfrm>
        </p:spPr>
        <p:txBody>
          <a:bodyPr anchor="t">
            <a:noAutofit/>
          </a:bodyPr>
          <a:lstStyle/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फल सब्जियां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</a:t>
            </a:r>
            <a:r>
              <a:rPr lang="en-IN" sz="2400" dirty="0" err="1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Fruits,Vegetables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)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रंग-पर्व उत्सव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Festival)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सप्ताह के दिन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Days of the Week)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ऋतुएँ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 (Seasons)   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पर्यटन स्थल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Tourist Spot)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रिश्ते-नाते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 (Relationship)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शरीर के अंग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Body Parts)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खाने पीने की चीजें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Food and Drinks)</a:t>
            </a:r>
            <a:endParaRPr lang="hi-IN" sz="2400" dirty="0"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r>
              <a:rPr lang="hi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प्रमुख वस्तुएं</a:t>
            </a:r>
            <a:r>
              <a:rPr lang="en-IN" sz="2400" dirty="0"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 (Key Items)</a:t>
            </a:r>
          </a:p>
        </p:txBody>
      </p:sp>
    </p:spTree>
    <p:extLst>
      <p:ext uri="{BB962C8B-B14F-4D97-AF65-F5344CB8AC3E}">
        <p14:creationId xmlns:p14="http://schemas.microsoft.com/office/powerpoint/2010/main" val="227079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A795F7-F2AD-9D37-8923-0D867087F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aper OUT Com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9C5F7C7-B8C0-35C6-EE38-54655F68DA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/>
              <a:t>Through this paper you will be familiar with some common words spoken in Hindi in everyday </a:t>
            </a:r>
            <a:r>
              <a:rPr lang="en-US" dirty="0" err="1"/>
              <a:t>life.You</a:t>
            </a:r>
            <a:r>
              <a:rPr lang="en-US" dirty="0"/>
              <a:t> will learn about its script which will help you to recognize the </a:t>
            </a:r>
            <a:r>
              <a:rPr lang="en-US" dirty="0" err="1"/>
              <a:t>letters.Living</a:t>
            </a:r>
            <a:r>
              <a:rPr lang="en-US" dirty="0"/>
              <a:t> and studying in India especially in a city like Delhi, how many times a day you have to come across such common words which are used in day to day </a:t>
            </a:r>
            <a:r>
              <a:rPr lang="en-US" dirty="0" err="1"/>
              <a:t>life.Through</a:t>
            </a:r>
            <a:r>
              <a:rPr lang="en-US" dirty="0"/>
              <a:t> this paper, you will not only learn to pronounce such words, but you will understand their meaning and use them in the right </a:t>
            </a:r>
            <a:r>
              <a:rPr lang="en-US" dirty="0" err="1"/>
              <a:t>place.you</a:t>
            </a:r>
            <a:r>
              <a:rPr lang="en-US" dirty="0"/>
              <a:t> will be proficient in </a:t>
            </a:r>
            <a:r>
              <a:rPr lang="en-US" dirty="0" err="1"/>
              <a:t>hindi</a:t>
            </a:r>
            <a:r>
              <a:rPr lang="en-US" dirty="0"/>
              <a:t> language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9381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394164F-F77A-6297-0BCD-5760D2A898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5741" y="2054692"/>
            <a:ext cx="9144000" cy="2387600"/>
          </a:xfrm>
        </p:spPr>
        <p:txBody>
          <a:bodyPr>
            <a:normAutofit fontScale="90000"/>
          </a:bodyPr>
          <a:lstStyle/>
          <a:p>
            <a:pPr algn="ctr"/>
            <a:r>
              <a:rPr lang="en-IN" sz="8000" b="1" kern="100" dirty="0">
                <a:effectLst/>
                <a:latin typeface="Kokila" panose="020B060402020202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>AEC - Hindi E</a:t>
            </a:r>
            <a:r>
              <a:rPr lang="en-IN" sz="80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/>
            </a:r>
            <a:br>
              <a:rPr lang="en-IN" sz="80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</a:br>
            <a:r>
              <a:rPr lang="hi-IN" sz="80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अनिवार्य हिंदी पाठ्यक्रम – 1</a:t>
            </a:r>
            <a:endParaRPr lang="en-IN" sz="80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38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FFFDDDA-33AF-2539-6715-67F605468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i-IN" sz="60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सेमेस्टर </a:t>
            </a:r>
            <a:r>
              <a:rPr lang="en-IN" sz="6000" b="1" kern="100" dirty="0">
                <a:effectLst/>
                <a:latin typeface="Kokila" panose="020B060402020202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>III</a:t>
            </a:r>
            <a:endParaRPr lang="en-IN" sz="13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6D28C30-9599-B54D-C35C-2D8C7DF4B3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i-IN" sz="36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इकाई 1: हिंदी में वार्तालाप (प्रारंभिक स्तर)</a:t>
            </a:r>
            <a:endParaRPr lang="en-IN" sz="36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36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इकाई 2 : हिंदी का व्यावहारिक व्याकरण (प्रारंभिक स्तर) </a:t>
            </a:r>
            <a:endParaRPr lang="en-IN" sz="36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27321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1397120-BB04-5220-B6CC-2FB793DA0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i-IN" sz="44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इकाई 1: हिंदी में वार्तालाप (प्रारंभिक स्तर)</a:t>
            </a:r>
            <a:r>
              <a:rPr lang="en-IN" sz="44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/>
            </a:r>
            <a:br>
              <a:rPr lang="en-IN" sz="44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</a:br>
            <a:r>
              <a:rPr lang="hi-IN" sz="44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(1-7 सप्ताह)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3680AC3-9A9C-F0AA-1A36-0B0B62938A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स्व-परिचय, मेरा परिवार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मेरा दैनिक कार्यक्रम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टेलीफोन / मोबाईल पर हिंदी में बातचीत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बाजार, मॉल में सामान्य बातचीत का अभ्यास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रेलवे स्टेशन, मेट्रो, यातायात के अन्य साधन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7850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1DBB196-2A8F-1BE4-3879-CFEA87757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i-IN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इकाई 2 : हिंदी का व्यावहारिक व्याकरण (प्रारंभिक स्तर) </a:t>
            </a:r>
            <a:r>
              <a:rPr lang="en-IN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/>
            </a:r>
            <a:br>
              <a:rPr lang="en-IN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</a:br>
            <a:r>
              <a:rPr lang="hi-IN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(8-15 सप्ताह)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E770E2-A9DF-9E41-73E1-919D4581E2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हिंदी वर्णमाला - स्वर, व्यंजन, संयुक्त व्यंजन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हिंदी संज्ञा शब्द - वचन व लिंग के आधार पर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हिंदी सर्वनाम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हिंदी विशेषण शब्द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r>
              <a:rPr lang="hi-IN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Kokila" panose="020B0604020202020204" pitchFamily="34" charset="0"/>
              </a:rPr>
              <a:t>हिंदी क्रिया</a:t>
            </a:r>
            <a:endParaRPr lang="en-IN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2754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04664"/>
            <a:ext cx="9144000" cy="1872208"/>
          </a:xfrm>
        </p:spPr>
        <p:txBody>
          <a:bodyPr/>
          <a:lstStyle/>
          <a:p>
            <a:pPr marL="182880" indent="0" algn="ctr">
              <a:buNone/>
            </a:pPr>
            <a:r>
              <a:rPr lang="hi-IN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ए</a:t>
            </a: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ई</a:t>
            </a: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ी संस्कृत</a:t>
            </a:r>
            <a:br>
              <a:rPr lang="hi-IN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</a:br>
            <a:r>
              <a:rPr lang="hi-IN" sz="44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'भारतस्य प्रतिष्ठे </a:t>
            </a:r>
            <a:r>
              <a:rPr lang="hi-IN" sz="44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द्वे संस्कृतं </a:t>
            </a:r>
            <a:r>
              <a:rPr lang="hi-IN" sz="44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ंस्कृतिस्तथा'</a:t>
            </a:r>
            <a:endParaRPr lang="en-IN" sz="440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accent1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029" name="Picture 5" descr="C:\Users\Hp\Downloads\वेद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94" b="9739"/>
          <a:stretch/>
        </p:blipFill>
        <p:spPr bwMode="auto">
          <a:xfrm>
            <a:off x="3071664" y="2204864"/>
            <a:ext cx="6334478" cy="338437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2462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116632"/>
            <a:ext cx="8229600" cy="864096"/>
          </a:xfrm>
          <a:solidFill>
            <a:schemeClr val="accent6">
              <a:lumMod val="40000"/>
              <a:lumOff val="60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marL="0" indent="0" algn="ctr">
              <a:buNone/>
            </a:pPr>
            <a:r>
              <a:rPr lang="hi-IN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ंस्कृत ए</a:t>
            </a:r>
            <a:r>
              <a:rPr lang="en-US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ई</a:t>
            </a:r>
            <a:r>
              <a:rPr lang="en-US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ी पाठ्यक्रम</a:t>
            </a:r>
            <a:endParaRPr lang="en-IN" dirty="0"/>
          </a:p>
        </p:txBody>
      </p:sp>
      <p:sp>
        <p:nvSpPr>
          <p:cNvPr id="4" name="Oval 3"/>
          <p:cNvSpPr/>
          <p:nvPr/>
        </p:nvSpPr>
        <p:spPr>
          <a:xfrm>
            <a:off x="1631504" y="1359998"/>
            <a:ext cx="2880320" cy="2592288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4655840" y="1359998"/>
            <a:ext cx="2880320" cy="2592288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7680176" y="1359998"/>
            <a:ext cx="2880320" cy="2592288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91544" y="1637080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ए</a:t>
            </a:r>
            <a:r>
              <a:rPr lang="en-US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ई</a:t>
            </a:r>
            <a:r>
              <a:rPr lang="en-US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ी क: संस्कृत क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31504" y="2029566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sz="1400" b="1" dirty="0">
                <a:solidFill>
                  <a:prstClr val="black"/>
                </a:solidFill>
              </a:rPr>
              <a:t>संस्कृत में अग्रिम नीति साहित्य</a:t>
            </a:r>
            <a:endParaRPr lang="en-IN" sz="1400" b="1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676694" y="2266485"/>
            <a:ext cx="2736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(12वीं तक संस्कृत पढ़ने वालों के लिए)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35560" y="2585560"/>
            <a:ext cx="18002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sz="14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पाठ्यक्रम में कथाएँ</a:t>
            </a:r>
          </a:p>
          <a:p>
            <a:pPr algn="ctr"/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कथासरितसागर</a:t>
            </a:r>
          </a:p>
          <a:p>
            <a:pPr algn="ctr"/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पञ्चतन्त्र</a:t>
            </a:r>
          </a:p>
          <a:p>
            <a:pPr algn="ctr"/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हितोपदेश</a:t>
            </a:r>
          </a:p>
          <a:p>
            <a:pPr algn="ctr"/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चाणक्यनीति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15880" y="1636507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ए</a:t>
            </a:r>
            <a:r>
              <a:rPr lang="en-US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ई</a:t>
            </a:r>
            <a:r>
              <a:rPr lang="en-US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ी ख: संस्कृत ख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85153" y="2005840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sz="1400" b="1" dirty="0">
                <a:solidFill>
                  <a:prstClr val="black"/>
                </a:solidFill>
              </a:rPr>
              <a:t>परिचयात्मक उपनिषद एवं गीता</a:t>
            </a:r>
            <a:endParaRPr lang="en-IN" sz="1400" b="1" dirty="0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27848" y="2243325"/>
            <a:ext cx="2736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(1</a:t>
            </a:r>
            <a:r>
              <a:rPr lang="en-US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0</a:t>
            </a: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वीं तक संस्कृत पढ़ने वालों के लिए)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225213" y="2585560"/>
            <a:ext cx="18002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sz="14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ईशावस्योपनिषद् – </a:t>
            </a: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कर्म, विद्या-अविद्या, सत्य, आत्मन्</a:t>
            </a:r>
          </a:p>
          <a:p>
            <a:pPr algn="ctr"/>
            <a:r>
              <a:rPr lang="hi-IN" sz="14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गीता – </a:t>
            </a: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ज्ञानयोग, कर्मयोग, भक्तियोग</a:t>
            </a:r>
            <a:endParaRPr lang="en-IN" sz="14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040216" y="1668199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ए</a:t>
            </a:r>
            <a:r>
              <a:rPr lang="en-US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ई</a:t>
            </a:r>
            <a:r>
              <a:rPr lang="en-US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hi-IN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4E67C8">
                    <a:lumMod val="7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ी ग: संस्कृत ग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680176" y="2004351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sz="1400" b="1" dirty="0">
                <a:solidFill>
                  <a:prstClr val="black"/>
                </a:solidFill>
              </a:rPr>
              <a:t>संस्कृत भाषा का परिचय</a:t>
            </a:r>
            <a:endParaRPr lang="en-IN" sz="1400" b="1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752184" y="2273347"/>
            <a:ext cx="27363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(</a:t>
            </a:r>
            <a:r>
              <a:rPr lang="en-US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8</a:t>
            </a: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वीं तक संस्कृत पढ़ने वालों के लिए/जिसने कभी संस्कृत नहीं पढ़ी है)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220236" y="2852937"/>
            <a:ext cx="1800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sz="14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ामान्य संस्कृत वाक्य निर्माण</a:t>
            </a: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(सक्रिय आवाज)</a:t>
            </a:r>
          </a:p>
          <a:p>
            <a:pPr algn="ctr"/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अनुप्रयुक्त संस्कृत, हितोपदेश</a:t>
            </a:r>
            <a:endParaRPr lang="en-IN" sz="14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023992" y="4171327"/>
            <a:ext cx="4032448" cy="234026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764974" y="4211796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i-IN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टिप्पणी: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384032" y="4566101"/>
            <a:ext cx="352839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शिक्षण का माध्यम</a:t>
            </a:r>
            <a:r>
              <a:rPr lang="en-US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– </a:t>
            </a: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अंग्रेजी/हिन्दी/संस्कृत</a:t>
            </a:r>
          </a:p>
          <a:p>
            <a:pPr marL="342900" indent="-342900">
              <a:buFontTx/>
              <a:buAutoNum type="arabicPeriod"/>
            </a:pP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दैनिक जीवन के करीब, समझने में आसान</a:t>
            </a:r>
          </a:p>
          <a:p>
            <a:pPr marL="342900" indent="-342900">
              <a:buFontTx/>
              <a:buAutoNum type="arabicPeriod"/>
            </a:pP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अवधारणा आधारित विश्लेषण</a:t>
            </a:r>
          </a:p>
          <a:p>
            <a:pPr marL="342900" indent="-342900">
              <a:buFontTx/>
              <a:buAutoNum type="arabicPeriod"/>
            </a:pP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आसान और स्कोरिंग</a:t>
            </a:r>
          </a:p>
          <a:p>
            <a:pPr marL="342900" indent="-342900">
              <a:buFontTx/>
              <a:buAutoNum type="arabicPeriod"/>
            </a:pP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जड़ों से दोबारा जुड़ने का तरीका</a:t>
            </a:r>
          </a:p>
          <a:p>
            <a:pPr marL="342900" indent="-342900">
              <a:buFontTx/>
              <a:buAutoNum type="arabicPeriod"/>
            </a:pP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व्यक्तित्व में भारतीयता जोड़ना</a:t>
            </a:r>
          </a:p>
          <a:p>
            <a:pPr marL="342900" indent="-342900">
              <a:buFontTx/>
              <a:buAutoNum type="arabicPeriod"/>
            </a:pP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विरासत को सुरक्षित रखें</a:t>
            </a:r>
          </a:p>
          <a:p>
            <a:pPr marL="342900" indent="-342900">
              <a:buFontTx/>
              <a:buAutoNum type="arabicPeriod"/>
            </a:pP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ंस्कृत को बढ़ावा देने का सबसे सरल तरीका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3075" name="Picture 3" descr="C:\Users\Hp\Downloads\मनु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40" y="4171327"/>
            <a:ext cx="4055000" cy="234026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05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5520" y="116632"/>
            <a:ext cx="8677472" cy="504057"/>
          </a:xfrm>
          <a:solidFill>
            <a:schemeClr val="accent6"/>
          </a:solidFill>
        </p:spPr>
        <p:txBody>
          <a:bodyPr>
            <a:normAutofit fontScale="90000"/>
          </a:bodyPr>
          <a:lstStyle/>
          <a:p>
            <a:pPr marL="0" indent="0" algn="ctr">
              <a:buNone/>
            </a:pPr>
            <a:r>
              <a:rPr lang="hi-IN" sz="36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ंस्कृत – सभी भाषाओं की जननी</a:t>
            </a:r>
            <a:endParaRPr lang="en-IN" sz="36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1775520" y="764704"/>
            <a:ext cx="3826768" cy="2880320"/>
          </a:xfrm>
          <a:solidFill>
            <a:schemeClr val="accent3">
              <a:lumMod val="60000"/>
              <a:lumOff val="40000"/>
            </a:schemeClr>
          </a:solidFill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hi-IN" sz="16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ंस्कृत और इसकी खासियत</a:t>
            </a:r>
            <a:endParaRPr lang="en-IN" sz="1600" b="1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देववाणी</a:t>
            </a:r>
            <a:r>
              <a:rPr lang="en-US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, </a:t>
            </a:r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देवभाषा के नाम से जाना जाता </a:t>
            </a:r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है ।</a:t>
            </a:r>
            <a:endParaRPr lang="en-IN" sz="1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भाषा - ज्ञान का </a:t>
            </a:r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भण्डार ।</a:t>
            </a:r>
            <a:endParaRPr lang="en-IN" sz="1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इसमें मौलिक ध्वनियाँ शामिल हैं - लगभग सभी भाषाओं की </a:t>
            </a:r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जननी ।</a:t>
            </a:r>
            <a:endParaRPr lang="en-IN" sz="1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बसे बड़ी वैज्ञानिक शब्दावली - सभी विज्ञानों और ज्ञान की अन्य शाखाओं के लिए तकनीकी </a:t>
            </a:r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शब्द ।</a:t>
            </a:r>
            <a:endParaRPr lang="en-IN" sz="1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कंप्यूटर के लिए सर्वोत्तम </a:t>
            </a:r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भाषा ।</a:t>
            </a:r>
            <a:endParaRPr lang="en-IN" sz="1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पूरी दुनिया में सराहा गया और अपनाया </a:t>
            </a:r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गया ।</a:t>
            </a:r>
            <a:endParaRPr lang="en-IN" sz="1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मानसिक और वाणी संबंधी कौशल बढ़ाने के लिए सर्वोत्तम </a:t>
            </a:r>
            <a:r>
              <a:rPr lang="hi-IN" sz="1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भाषा ।</a:t>
            </a:r>
            <a:endParaRPr lang="en-IN" sz="1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775520" y="3789040"/>
            <a:ext cx="3826768" cy="288032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भी के लिए उपयोगी</a:t>
            </a:r>
            <a:endParaRPr lang="en-IN" sz="16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देववाणी</a:t>
            </a:r>
            <a:r>
              <a:rPr lang="en-US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, </a:t>
            </a:r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देवभाषा के नाम से जाना जाता है ।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भाषा - ज्ञान का भण्डार ।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इसमें मौलिक ध्वनियाँ शामिल हैं - लगभग सभी भाषाओं की जननी ।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बसे बड़ी वैज्ञानिक शब्दावली - सभी विज्ञानों और ज्ञान की अन्य शाखाओं के लिए तकनीकी शब्द ।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कंप्यूटर के लिए सर्वोत्तम भाषा ।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पूरी दुनिया में सराहा गया और अपनाया गया ।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hi-IN" sz="14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मानसिक और वाणी संबंधी कौशल बढ़ाने के लिए सर्वोत्तम भाषा ।</a:t>
            </a:r>
            <a:endParaRPr lang="en-IN" sz="14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791798" y="764704"/>
            <a:ext cx="4762872" cy="592270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IN" sz="16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104112" y="1052736"/>
            <a:ext cx="0" cy="5112568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7104112" y="1052736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7104112" y="1412776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7128551" y="2186816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104112" y="3068960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7130752" y="3855582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7104112" y="4581128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7130752" y="5229200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7104112" y="6165304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6" name="Rounded Rectangle 25"/>
          <p:cNvSpPr/>
          <p:nvPr/>
        </p:nvSpPr>
        <p:spPr>
          <a:xfrm>
            <a:off x="5879976" y="3079035"/>
            <a:ext cx="936104" cy="67991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black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879976" y="3102641"/>
            <a:ext cx="93610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400" b="1" dirty="0">
                <a:solidFill>
                  <a:prstClr val="black"/>
                </a:solidFill>
              </a:rPr>
              <a:t>संस्कृत - </a:t>
            </a:r>
            <a:r>
              <a:rPr lang="hi-IN" sz="1200" dirty="0">
                <a:solidFill>
                  <a:prstClr val="black"/>
                </a:solidFill>
              </a:rPr>
              <a:t>पृथ्वी ग्रह की पहली भाषा</a:t>
            </a:r>
            <a:endParaRPr lang="en-IN" sz="1200" dirty="0">
              <a:solidFill>
                <a:prstClr val="black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335180" y="836712"/>
            <a:ext cx="13531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अनातोलिअन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346776" y="1268760"/>
            <a:ext cx="126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अर्मेनियन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392144" y="1970792"/>
            <a:ext cx="126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्लाविक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346776" y="2874422"/>
            <a:ext cx="126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ेल्टिक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346776" y="3711566"/>
            <a:ext cx="126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जर्मेनिक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392144" y="4458598"/>
            <a:ext cx="126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ग्रीक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418784" y="5059923"/>
            <a:ext cx="126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ईरानियन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346776" y="5970766"/>
            <a:ext cx="126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लेटिन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8328248" y="6118557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8616280" y="5589241"/>
            <a:ext cx="9671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फ्रेन्च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इटालियन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पोर्तुगीज़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रोमानियन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्पेनिश</a:t>
            </a:r>
            <a:endParaRPr lang="en-IN" sz="12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 flipH="1">
            <a:off x="8616281" y="5656560"/>
            <a:ext cx="3269" cy="94079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8328248" y="5229200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8616280" y="4797153"/>
            <a:ext cx="9671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पर्सियन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पहलावी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पाश्तो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उर्दु</a:t>
            </a:r>
            <a:endParaRPr lang="en-IN" sz="12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8616280" y="4901062"/>
            <a:ext cx="0" cy="61617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8256240" y="3933056"/>
            <a:ext cx="180528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8436768" y="3648037"/>
            <a:ext cx="11111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डच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अंग्रेजी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जर्मन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्कान्डिनावियन</a:t>
            </a:r>
            <a:endParaRPr lang="en-IN" sz="12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8436768" y="3758953"/>
            <a:ext cx="0" cy="61617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9516888" y="4324998"/>
            <a:ext cx="144016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9660904" y="4108974"/>
            <a:ext cx="0" cy="61617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9629868" y="4038164"/>
            <a:ext cx="9306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डेनिश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आइसलेंडिक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नोर्वेज़ियन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्विडिश</a:t>
            </a:r>
            <a:endParaRPr lang="en-IN" sz="12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58" name="Straight Connector 57"/>
          <p:cNvCxnSpPr/>
          <p:nvPr/>
        </p:nvCxnSpPr>
        <p:spPr>
          <a:xfrm>
            <a:off x="8256240" y="3068960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8544272" y="2742020"/>
            <a:ext cx="11111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ब्रीटोन (ब्रिटैन्नी)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आईरिश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्कौट्स् गायेलिक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वेल्श</a:t>
            </a:r>
            <a:endParaRPr lang="en-IN" sz="12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60" name="Straight Connector 59"/>
          <p:cNvCxnSpPr/>
          <p:nvPr/>
        </p:nvCxnSpPr>
        <p:spPr>
          <a:xfrm>
            <a:off x="8544272" y="2852936"/>
            <a:ext cx="0" cy="61617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8256240" y="2132856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8544272" y="1508592"/>
            <a:ext cx="11111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बुल्गेरियन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क्रोएशियन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रशियन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यूक्रेनियन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चेक</a:t>
            </a:r>
          </a:p>
          <a:p>
            <a:pPr algn="just"/>
            <a:r>
              <a:rPr lang="hi-IN" sz="12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पोलिश</a:t>
            </a:r>
            <a:endParaRPr lang="en-IN" sz="1200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63" name="Straight Connector 62"/>
          <p:cNvCxnSpPr/>
          <p:nvPr/>
        </p:nvCxnSpPr>
        <p:spPr>
          <a:xfrm>
            <a:off x="8544272" y="1607314"/>
            <a:ext cx="0" cy="1029598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6816080" y="3429000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7536160" y="6381328"/>
            <a:ext cx="288032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 flipH="1">
            <a:off x="7680176" y="6237312"/>
            <a:ext cx="4936" cy="144016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7320136" y="6402814"/>
            <a:ext cx="126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रोमान्स</a:t>
            </a:r>
            <a:endParaRPr lang="en-IN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8900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77824" y="219456"/>
            <a:ext cx="10698480" cy="923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A53010"/>
                </a:solidFill>
                <a:ea typeface="+mj-ea"/>
                <a:cs typeface="+mj-cs"/>
              </a:rPr>
              <a:t>ABILITY ENHANCEMENT </a:t>
            </a:r>
            <a:r>
              <a:rPr lang="en-US" sz="2800" b="1" dirty="0" smtClean="0">
                <a:solidFill>
                  <a:srgbClr val="A53010"/>
                </a:solidFill>
                <a:ea typeface="+mj-ea"/>
                <a:cs typeface="+mj-cs"/>
              </a:rPr>
              <a:t>COURSE</a:t>
            </a:r>
          </a:p>
          <a:p>
            <a:pPr lvl="0" algn="ctr"/>
            <a:r>
              <a:rPr lang="hi-IN" sz="2800" b="1" u="sng" dirty="0">
                <a:solidFill>
                  <a:srgbClr val="A53010"/>
                </a:solidFill>
              </a:rPr>
              <a:t>योग्यता संवर्धन पाठ्यक्रम : </a:t>
            </a:r>
            <a:r>
              <a:rPr lang="en-IN" sz="2800" b="1" u="sng" dirty="0" smtClean="0">
                <a:solidFill>
                  <a:srgbClr val="A53010"/>
                </a:solidFill>
              </a:rPr>
              <a:t>AEC - IL</a:t>
            </a:r>
            <a:endParaRPr lang="en-US" sz="2000" dirty="0" smtClean="0">
              <a:solidFill>
                <a:srgbClr val="A53010"/>
              </a:solidFill>
              <a:ea typeface="+mj-ea"/>
              <a:cs typeface="+mj-cs"/>
            </a:endParaRPr>
          </a:p>
          <a:p>
            <a:endParaRPr lang="en-US" sz="2000" dirty="0" smtClean="0">
              <a:solidFill>
                <a:srgbClr val="A53010"/>
              </a:solidFill>
            </a:endParaRPr>
          </a:p>
          <a:p>
            <a:pPr lvl="0" algn="just"/>
            <a:r>
              <a:rPr lang="en-US" sz="2800" u="sng" dirty="0">
                <a:solidFill>
                  <a:srgbClr val="002060"/>
                </a:solidFill>
              </a:rPr>
              <a:t>Important</a:t>
            </a:r>
            <a:r>
              <a:rPr lang="en-US" sz="2800" u="sng" dirty="0" smtClean="0">
                <a:solidFill>
                  <a:srgbClr val="002060"/>
                </a:solidFill>
              </a:rPr>
              <a:t>:</a:t>
            </a:r>
            <a:endParaRPr lang="en-US" sz="2000" dirty="0" smtClean="0">
              <a:solidFill>
                <a:srgbClr val="002060"/>
              </a:solidFill>
            </a:endParaRP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002060"/>
                </a:solidFill>
              </a:rPr>
              <a:t>Only </a:t>
            </a:r>
            <a:r>
              <a:rPr lang="en-US" sz="2000" b="1" dirty="0">
                <a:solidFill>
                  <a:srgbClr val="002060"/>
                </a:solidFill>
              </a:rPr>
              <a:t>Hindi</a:t>
            </a:r>
            <a:r>
              <a:rPr lang="en-US" sz="2000" dirty="0">
                <a:solidFill>
                  <a:srgbClr val="002060"/>
                </a:solidFill>
              </a:rPr>
              <a:t> and </a:t>
            </a:r>
            <a:r>
              <a:rPr lang="en-US" sz="2000" b="1" dirty="0">
                <a:solidFill>
                  <a:srgbClr val="002060"/>
                </a:solidFill>
              </a:rPr>
              <a:t>Sanskrit</a:t>
            </a:r>
            <a:r>
              <a:rPr lang="en-US" sz="2000" dirty="0">
                <a:solidFill>
                  <a:srgbClr val="002060"/>
                </a:solidFill>
              </a:rPr>
              <a:t> languages are being offered by Daulat Ram College. Other Languages will be offered by the </a:t>
            </a:r>
            <a:r>
              <a:rPr lang="en-US" sz="2000" b="1" dirty="0">
                <a:solidFill>
                  <a:srgbClr val="002060"/>
                </a:solidFill>
              </a:rPr>
              <a:t>Cluster colleges </a:t>
            </a:r>
            <a:r>
              <a:rPr lang="en-US" sz="2000" dirty="0">
                <a:solidFill>
                  <a:srgbClr val="002060"/>
                </a:solidFill>
              </a:rPr>
              <a:t>and </a:t>
            </a:r>
            <a:r>
              <a:rPr lang="en-US" sz="2000" b="1" dirty="0">
                <a:solidFill>
                  <a:srgbClr val="002060"/>
                </a:solidFill>
              </a:rPr>
              <a:t>MIL</a:t>
            </a:r>
            <a:r>
              <a:rPr lang="en-US" sz="2000" dirty="0">
                <a:solidFill>
                  <a:srgbClr val="002060"/>
                </a:solidFill>
              </a:rPr>
              <a:t> department within the North Campus</a:t>
            </a:r>
            <a:r>
              <a:rPr lang="en-US" sz="2000" dirty="0" smtClean="0">
                <a:solidFill>
                  <a:srgbClr val="002060"/>
                </a:solidFill>
              </a:rPr>
              <a:t>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002060"/>
                </a:solidFill>
              </a:rPr>
              <a:t>If </a:t>
            </a:r>
            <a:r>
              <a:rPr lang="en-US" sz="2000" dirty="0">
                <a:solidFill>
                  <a:srgbClr val="002060"/>
                </a:solidFill>
              </a:rPr>
              <a:t>a student opts any </a:t>
            </a:r>
            <a:r>
              <a:rPr lang="en-US" sz="2000" dirty="0" smtClean="0">
                <a:solidFill>
                  <a:srgbClr val="002060"/>
                </a:solidFill>
              </a:rPr>
              <a:t>AEC - ILs </a:t>
            </a:r>
            <a:r>
              <a:rPr lang="en-US" sz="2000" dirty="0">
                <a:solidFill>
                  <a:srgbClr val="002060"/>
                </a:solidFill>
              </a:rPr>
              <a:t>other than Sanskrit and Hindi, their classes will be held in any of the cluster colleges of Delhi University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A cluster college and AEC language once allotted will </a:t>
            </a:r>
            <a:r>
              <a:rPr lang="en-US" sz="2000" b="1" dirty="0">
                <a:solidFill>
                  <a:srgbClr val="002060"/>
                </a:solidFill>
              </a:rPr>
              <a:t>NOT</a:t>
            </a:r>
            <a:r>
              <a:rPr lang="en-US" sz="2000" dirty="0">
                <a:solidFill>
                  <a:srgbClr val="002060"/>
                </a:solidFill>
              </a:rPr>
              <a:t> be changed</a:t>
            </a:r>
            <a:r>
              <a:rPr lang="en-US" sz="2000" dirty="0" smtClean="0">
                <a:solidFill>
                  <a:srgbClr val="002060"/>
                </a:solidFill>
              </a:rPr>
              <a:t>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You need to study only </a:t>
            </a:r>
            <a:r>
              <a:rPr lang="en-US" sz="2000" b="1" dirty="0">
                <a:solidFill>
                  <a:srgbClr val="002060"/>
                </a:solidFill>
              </a:rPr>
              <a:t>One </a:t>
            </a:r>
            <a:r>
              <a:rPr lang="en-US" sz="2000" b="1" dirty="0" smtClean="0">
                <a:solidFill>
                  <a:srgbClr val="002060"/>
                </a:solidFill>
              </a:rPr>
              <a:t>AEC - IL</a:t>
            </a:r>
            <a:r>
              <a:rPr lang="en-US" sz="2000" dirty="0">
                <a:solidFill>
                  <a:srgbClr val="002060"/>
                </a:solidFill>
              </a:rPr>
              <a:t> during this semester but are </a:t>
            </a:r>
            <a:r>
              <a:rPr lang="en-US" sz="2000" dirty="0" smtClean="0">
                <a:solidFill>
                  <a:srgbClr val="002060"/>
                </a:solidFill>
              </a:rPr>
              <a:t>requested to </a:t>
            </a:r>
            <a:r>
              <a:rPr lang="en-US" sz="2000" dirty="0">
                <a:solidFill>
                  <a:srgbClr val="002060"/>
                </a:solidFill>
              </a:rPr>
              <a:t>provide three preferences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rgbClr val="002060"/>
              </a:solidFill>
            </a:endParaRPr>
          </a:p>
          <a:p>
            <a:pPr marL="342900" lvl="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rgbClr val="002060"/>
              </a:solidFill>
              <a:sym typeface="Wingdings" panose="05000000000000000000" pitchFamily="2" charset="2"/>
            </a:endParaRPr>
          </a:p>
          <a:p>
            <a:pPr marL="342900" lvl="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rgbClr val="002060"/>
              </a:solidFill>
              <a:sym typeface="Wingdings" panose="05000000000000000000" pitchFamily="2" charset="2"/>
            </a:endParaRPr>
          </a:p>
          <a:p>
            <a:pPr lvl="0" algn="just"/>
            <a:endParaRPr lang="en-US" sz="2000" dirty="0" smtClean="0">
              <a:solidFill>
                <a:srgbClr val="002060"/>
              </a:solidFill>
            </a:endParaRP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rgbClr val="002060"/>
              </a:solidFill>
            </a:endParaRPr>
          </a:p>
          <a:p>
            <a:pPr lvl="0" algn="just"/>
            <a:r>
              <a:rPr lang="en-US" sz="2800" dirty="0">
                <a:solidFill>
                  <a:srgbClr val="002060"/>
                </a:solidFill>
              </a:rPr>
              <a:t>	</a:t>
            </a:r>
            <a:endParaRPr lang="en-US" sz="2800" dirty="0" smtClean="0">
              <a:solidFill>
                <a:srgbClr val="002060"/>
              </a:solidFill>
            </a:endParaRPr>
          </a:p>
          <a:p>
            <a:endParaRPr lang="en-US" sz="2800" dirty="0">
              <a:solidFill>
                <a:srgbClr val="A53010"/>
              </a:solidFill>
            </a:endParaRPr>
          </a:p>
          <a:p>
            <a:endParaRPr lang="en-US" sz="2800" dirty="0">
              <a:solidFill>
                <a:srgbClr val="A53010"/>
              </a:solidFill>
              <a:ea typeface="+mj-ea"/>
              <a:cs typeface="+mj-cs"/>
            </a:endParaRPr>
          </a:p>
          <a:p>
            <a:pPr algn="ctr"/>
            <a:endParaRPr lang="en-US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60563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:\Users\Hp\Downloads\WhatsApp Image 2023-08-21 at 2.44.20 PM-modifie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1864" y="1340768"/>
            <a:ext cx="2880320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ubtitle 2"/>
          <p:cNvSpPr txBox="1">
            <a:spLocks/>
          </p:cNvSpPr>
          <p:nvPr/>
        </p:nvSpPr>
        <p:spPr>
          <a:xfrm>
            <a:off x="4151784" y="4437112"/>
            <a:ext cx="4104456" cy="191683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288000" algn="ctr">
              <a:buClr>
                <a:srgbClr val="F14124">
                  <a:lumMod val="75000"/>
                </a:srgbClr>
              </a:buClr>
              <a:buNone/>
            </a:pPr>
            <a:r>
              <a:rPr lang="hi-IN" sz="18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डॉ. शारदा गौतम</a:t>
            </a:r>
          </a:p>
          <a:p>
            <a:pPr marL="45720" indent="288000" algn="ctr">
              <a:buClr>
                <a:srgbClr val="F14124">
                  <a:lumMod val="75000"/>
                </a:srgbClr>
              </a:buClr>
              <a:buNone/>
            </a:pPr>
            <a:r>
              <a:rPr lang="hi-IN" sz="1800" dirty="0">
                <a:solidFill>
                  <a:prstClr val="black">
                    <a:lumMod val="75000"/>
                    <a:lumOff val="2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हायक प्राध्यापक,</a:t>
            </a:r>
          </a:p>
          <a:p>
            <a:pPr marL="45720" indent="288000" algn="ctr">
              <a:buClr>
                <a:srgbClr val="F14124">
                  <a:lumMod val="75000"/>
                </a:srgbClr>
              </a:buClr>
              <a:buNone/>
            </a:pPr>
            <a:r>
              <a:rPr lang="hi-IN" sz="1800" dirty="0">
                <a:solidFill>
                  <a:prstClr val="black">
                    <a:lumMod val="75000"/>
                    <a:lumOff val="2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संस्कृत विभाग</a:t>
            </a:r>
          </a:p>
          <a:p>
            <a:pPr marL="45720" indent="288000" algn="ctr">
              <a:buClr>
                <a:srgbClr val="F14124">
                  <a:lumMod val="75000"/>
                </a:srgbClr>
              </a:buClr>
              <a:buNone/>
            </a:pPr>
            <a:r>
              <a:rPr lang="en-US" sz="1800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ea typeface="Arial Unicode MS" pitchFamily="34" charset="-128"/>
                <a:cs typeface="Times New Roman" pitchFamily="18" charset="0"/>
                <a:hlinkClick r:id="rId3"/>
              </a:rPr>
              <a:t>sharda@dr.du.ac.in</a:t>
            </a:r>
            <a:r>
              <a:rPr lang="hi-IN" sz="1800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ea typeface="Arial Unicode MS" pitchFamily="34" charset="-128"/>
                <a:cs typeface="Times New Roman" pitchFamily="18" charset="0"/>
              </a:rPr>
              <a:t>, </a:t>
            </a:r>
            <a:r>
              <a:rPr lang="en-US" sz="1800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ea typeface="Arial Unicode MS" pitchFamily="34" charset="-128"/>
                <a:cs typeface="Times New Roman" pitchFamily="18" charset="0"/>
              </a:rPr>
              <a:t>+91 97112 42244</a:t>
            </a:r>
          </a:p>
        </p:txBody>
      </p:sp>
    </p:spTree>
    <p:extLst>
      <p:ext uri="{BB962C8B-B14F-4D97-AF65-F5344CB8AC3E}">
        <p14:creationId xmlns:p14="http://schemas.microsoft.com/office/powerpoint/2010/main" val="2992040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C:\Users\Hp\Downloads\थ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004" y="1268761"/>
            <a:ext cx="2143125" cy="21431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C:\Users\Hp\Downloads\than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848" y="3645024"/>
            <a:ext cx="2971800" cy="15430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253417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46504" y="676656"/>
            <a:ext cx="920800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2400" b="1" dirty="0">
                <a:solidFill>
                  <a:srgbClr val="A53010"/>
                </a:solidFill>
              </a:rPr>
              <a:t>ABILITY ENHANCEMENT COURSE</a:t>
            </a:r>
          </a:p>
          <a:p>
            <a:pPr lvl="0" algn="ctr"/>
            <a:r>
              <a:rPr lang="hi-IN" sz="2400" b="1" u="sng" dirty="0">
                <a:solidFill>
                  <a:srgbClr val="A53010"/>
                </a:solidFill>
              </a:rPr>
              <a:t>योग्यता संवर्धन पाठ्यक्रम : </a:t>
            </a:r>
            <a:r>
              <a:rPr lang="en-IN" sz="2400" b="1" u="sng" dirty="0" smtClean="0">
                <a:solidFill>
                  <a:srgbClr val="A53010"/>
                </a:solidFill>
              </a:rPr>
              <a:t>AEC - IL</a:t>
            </a:r>
            <a:endParaRPr lang="en-IN" sz="2400" b="1" u="sng" dirty="0">
              <a:solidFill>
                <a:srgbClr val="A53010"/>
              </a:solidFill>
            </a:endParaRP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rgbClr val="002060"/>
              </a:solidFill>
            </a:endParaRP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002060"/>
                </a:solidFill>
              </a:rPr>
              <a:t>AEC </a:t>
            </a:r>
            <a:r>
              <a:rPr lang="en-US" sz="2000" dirty="0">
                <a:solidFill>
                  <a:srgbClr val="002060"/>
                </a:solidFill>
              </a:rPr>
              <a:t>allotment shall be done on the basis of your preference. In case of high demand and limited availability of seats in an </a:t>
            </a:r>
            <a:r>
              <a:rPr lang="en-US" sz="2000" dirty="0" smtClean="0">
                <a:solidFill>
                  <a:srgbClr val="002060"/>
                </a:solidFill>
              </a:rPr>
              <a:t>AEC - IL, </a:t>
            </a:r>
            <a:r>
              <a:rPr lang="en-US" sz="2000" dirty="0">
                <a:solidFill>
                  <a:srgbClr val="002060"/>
                </a:solidFill>
              </a:rPr>
              <a:t>the CUET score, and class XII percentage will be considered for allotment</a:t>
            </a:r>
            <a:r>
              <a:rPr lang="en-US" sz="2000" dirty="0" smtClean="0">
                <a:solidFill>
                  <a:srgbClr val="002060"/>
                </a:solidFill>
              </a:rPr>
              <a:t>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The time slot of </a:t>
            </a:r>
            <a:r>
              <a:rPr lang="en-US" sz="2000" dirty="0" smtClean="0">
                <a:solidFill>
                  <a:srgbClr val="002060"/>
                </a:solidFill>
              </a:rPr>
              <a:t>AEC - IL </a:t>
            </a:r>
            <a:r>
              <a:rPr lang="en-US" sz="2000" dirty="0">
                <a:solidFill>
                  <a:srgbClr val="002060"/>
                </a:solidFill>
              </a:rPr>
              <a:t>lectures will be on Wednesday 3:00 PM to 5</a:t>
            </a:r>
            <a:r>
              <a:rPr lang="en-US" sz="2000" dirty="0">
                <a:solidFill>
                  <a:srgbClr val="002060"/>
                </a:solidFill>
                <a:sym typeface="Wingdings" panose="05000000000000000000" pitchFamily="2" charset="2"/>
              </a:rPr>
              <a:t>:00 PM every </a:t>
            </a:r>
            <a:r>
              <a:rPr lang="en-US" sz="2000" dirty="0" smtClean="0">
                <a:solidFill>
                  <a:srgbClr val="002060"/>
                </a:solidFill>
                <a:sym typeface="Wingdings" panose="05000000000000000000" pitchFamily="2" charset="2"/>
              </a:rPr>
              <a:t>week</a:t>
            </a:r>
            <a:r>
              <a:rPr lang="en-US" sz="2000" dirty="0">
                <a:solidFill>
                  <a:srgbClr val="002060"/>
                </a:solidFill>
                <a:sym typeface="Wingdings" panose="05000000000000000000" pitchFamily="2" charset="2"/>
              </a:rPr>
              <a:t>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875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901952" y="658368"/>
            <a:ext cx="88513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2060"/>
                </a:solidFill>
              </a:rPr>
              <a:t>The students of the following courses will study AEC- Indian Language(IL) in I </a:t>
            </a:r>
            <a:r>
              <a:rPr lang="en-US" sz="2400" dirty="0">
                <a:solidFill>
                  <a:srgbClr val="002060"/>
                </a:solidFill>
              </a:rPr>
              <a:t>s</a:t>
            </a:r>
            <a:r>
              <a:rPr lang="en-US" sz="2400" dirty="0" smtClean="0">
                <a:solidFill>
                  <a:srgbClr val="002060"/>
                </a:solidFill>
              </a:rPr>
              <a:t>emester and III semester:</a:t>
            </a:r>
          </a:p>
          <a:p>
            <a:endParaRPr lang="en-US" sz="2400" dirty="0" smtClean="0">
              <a:solidFill>
                <a:srgbClr val="002060"/>
              </a:solidFill>
            </a:endParaRPr>
          </a:p>
          <a:p>
            <a:endParaRPr lang="en-US" sz="2400" dirty="0">
              <a:solidFill>
                <a:schemeClr val="accent1"/>
              </a:solidFill>
            </a:endParaRPr>
          </a:p>
          <a:p>
            <a:endParaRPr lang="en-US" sz="2400" dirty="0" smtClean="0">
              <a:solidFill>
                <a:schemeClr val="accent1"/>
              </a:solidFill>
            </a:endParaRPr>
          </a:p>
          <a:p>
            <a:pPr algn="ctr"/>
            <a:r>
              <a:rPr lang="en-US" sz="2400" dirty="0" smtClean="0">
                <a:solidFill>
                  <a:schemeClr val="accent1"/>
                </a:solidFill>
              </a:rPr>
              <a:t>Thank You.</a:t>
            </a:r>
            <a:endParaRPr lang="en-IN" sz="2400" dirty="0">
              <a:solidFill>
                <a:schemeClr val="accent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046917"/>
              </p:ext>
            </p:extLst>
          </p:nvPr>
        </p:nvGraphicFramePr>
        <p:xfrm>
          <a:off x="2359151" y="1527051"/>
          <a:ext cx="7545262" cy="4974335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3772631"/>
                <a:gridCol w="3772631"/>
              </a:tblGrid>
              <a:tr h="399784">
                <a:tc>
                  <a:txBody>
                    <a:bodyPr/>
                    <a:lstStyle/>
                    <a:p>
                      <a:pPr marL="843280" marR="0">
                        <a:spcBef>
                          <a:spcPts val="535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SEMESTER I</a:t>
                      </a:r>
                      <a:endParaRPr lang="en-IN" sz="20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21690" marR="0">
                        <a:spcBef>
                          <a:spcPts val="535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SEMESTER II</a:t>
                      </a:r>
                      <a:endParaRPr lang="en-IN" sz="20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1921">
                <a:tc>
                  <a:txBody>
                    <a:bodyPr/>
                    <a:lstStyle/>
                    <a:p>
                      <a:pPr marL="56515" marR="0">
                        <a:spcBef>
                          <a:spcPts val="54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B.Com</a:t>
                      </a:r>
                      <a:r>
                        <a:rPr lang="en-US" sz="1600" spc="-3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</a:t>
                      </a:r>
                      <a:r>
                        <a:rPr lang="en-US" sz="1600" dirty="0" err="1">
                          <a:effectLst/>
                        </a:rPr>
                        <a:t>Prog</a:t>
                      </a:r>
                      <a:r>
                        <a:rPr lang="en-US" sz="1600" dirty="0">
                          <a:effectLst/>
                        </a:rPr>
                        <a:t>)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4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B.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Com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(Hons.)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56515" marR="0">
                        <a:spcBef>
                          <a:spcPts val="53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A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</a:t>
                      </a:r>
                      <a:r>
                        <a:rPr lang="en-US" sz="1600" dirty="0" err="1">
                          <a:effectLst/>
                        </a:rPr>
                        <a:t>Prog</a:t>
                      </a:r>
                      <a:r>
                        <a:rPr lang="en-US" sz="1600" dirty="0">
                          <a:effectLst/>
                        </a:rPr>
                        <a:t>)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3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B.</a:t>
                      </a:r>
                      <a:r>
                        <a:rPr lang="en-US" sz="1600" spc="-25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A.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(Hons.)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English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56515" marR="0">
                        <a:spcBef>
                          <a:spcPts val="52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Sc.</a:t>
                      </a:r>
                      <a:r>
                        <a:rPr lang="en-US" sz="1600" spc="-3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Life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Sciences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2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B.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A.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(Hons.)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Music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56515" marR="0">
                        <a:spcBef>
                          <a:spcPts val="51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A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Hons.)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Economics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1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B.</a:t>
                      </a:r>
                      <a:r>
                        <a:rPr lang="en-US" sz="1600" spc="-25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A.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(Hons.)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History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56515" marR="0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</a:t>
                      </a:r>
                      <a:r>
                        <a:rPr lang="en-US" sz="1600" spc="-3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A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Hons.)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Mathematics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B.</a:t>
                      </a:r>
                      <a:r>
                        <a:rPr lang="en-US" sz="1600" spc="-3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A.</a:t>
                      </a:r>
                      <a:r>
                        <a:rPr lang="en-US" sz="1600" spc="-25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(Hons.)</a:t>
                      </a:r>
                      <a:r>
                        <a:rPr lang="en-US" sz="1600" spc="-25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Philosophy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56515" marR="0">
                        <a:spcBef>
                          <a:spcPts val="49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Sc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Hons.)</a:t>
                      </a:r>
                      <a:r>
                        <a:rPr lang="en-US" sz="1600" spc="-2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Zoology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49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B.</a:t>
                      </a:r>
                      <a:r>
                        <a:rPr lang="en-US" sz="1600" spc="-25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A.</a:t>
                      </a:r>
                      <a:r>
                        <a:rPr lang="en-US" sz="1600" spc="-25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(Hons.)</a:t>
                      </a:r>
                      <a:r>
                        <a:rPr lang="en-US" sz="1600" spc="-2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Sanskrit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64910">
                <a:tc>
                  <a:txBody>
                    <a:bodyPr/>
                    <a:lstStyle/>
                    <a:p>
                      <a:pPr marL="56515" marR="0">
                        <a:spcBef>
                          <a:spcPts val="48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B.</a:t>
                      </a:r>
                      <a:r>
                        <a:rPr lang="en-US" sz="1600" spc="-30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A.</a:t>
                      </a:r>
                      <a:r>
                        <a:rPr lang="en-US" sz="1600" spc="-25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(Hons.)</a:t>
                      </a:r>
                      <a:r>
                        <a:rPr lang="en-US" sz="1600" spc="-25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Political</a:t>
                      </a:r>
                      <a:r>
                        <a:rPr lang="en-US" sz="1600" spc="-25">
                          <a:effectLst/>
                        </a:rPr>
                        <a:t> </a:t>
                      </a:r>
                      <a:r>
                        <a:rPr lang="en-US" sz="1600">
                          <a:effectLst/>
                        </a:rPr>
                        <a:t>Science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48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</a:t>
                      </a:r>
                      <a:r>
                        <a:rPr lang="en-US" sz="1600" spc="-2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A.</a:t>
                      </a:r>
                      <a:r>
                        <a:rPr lang="en-US" sz="1600" spc="-2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Hons.)</a:t>
                      </a:r>
                      <a:r>
                        <a:rPr lang="en-US" sz="1600" spc="-2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Hindi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7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</a:t>
                      </a:r>
                      <a:r>
                        <a:rPr lang="en-US" sz="1600" spc="-3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A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Hons.)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Psychology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6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Sc.</a:t>
                      </a:r>
                      <a:r>
                        <a:rPr lang="en-US" sz="1600" spc="-2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Hons.)</a:t>
                      </a:r>
                      <a:r>
                        <a:rPr lang="en-US" sz="1600" spc="-2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Botany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5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</a:t>
                      </a:r>
                      <a:r>
                        <a:rPr lang="en-US" sz="1600" spc="-3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Sc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Hons.)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Chemistry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4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Sc.</a:t>
                      </a:r>
                      <a:r>
                        <a:rPr lang="en-US" sz="1600" spc="-25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Hons.)</a:t>
                      </a:r>
                      <a:r>
                        <a:rPr lang="en-US" sz="1600" spc="-2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Physics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  <a:tr h="3827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en-IN" sz="160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515" marR="0">
                        <a:spcBef>
                          <a:spcPts val="53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.</a:t>
                      </a:r>
                      <a:r>
                        <a:rPr lang="en-US" sz="1600" spc="-3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Sc.</a:t>
                      </a:r>
                      <a:r>
                        <a:rPr lang="en-US" sz="1600" spc="-3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(Hons.)</a:t>
                      </a:r>
                      <a:r>
                        <a:rPr lang="en-US" sz="1600" spc="-30" dirty="0">
                          <a:effectLst/>
                        </a:rPr>
                        <a:t> </a:t>
                      </a:r>
                      <a:r>
                        <a:rPr lang="en-US" sz="1600" dirty="0">
                          <a:effectLst/>
                        </a:rPr>
                        <a:t>Bio-Chemistry</a:t>
                      </a:r>
                      <a:endParaRPr lang="en-IN" sz="1600" dirty="0"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1926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 txBox="1">
            <a:spLocks noGrp="1"/>
          </p:cNvSpPr>
          <p:nvPr>
            <p:ph type="title"/>
          </p:nvPr>
        </p:nvSpPr>
        <p:spPr>
          <a:xfrm>
            <a:off x="641000" y="971033"/>
            <a:ext cx="10962800" cy="39200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buClr>
                <a:schemeClr val="lt2"/>
              </a:buClr>
              <a:buSzPts val="3000"/>
            </a:pPr>
            <a:r>
              <a:rPr lang="en" sz="5200" dirty="0"/>
              <a:t>हिन्दी विभाग</a:t>
            </a:r>
            <a:br>
              <a:rPr lang="en" sz="5200" dirty="0"/>
            </a:br>
            <a:r>
              <a:rPr lang="en" sz="5200" dirty="0"/>
              <a:t>शैक्षणिक सत्र 2023 – 2024</a:t>
            </a:r>
            <a:endParaRPr sz="7600" dirty="0"/>
          </a:p>
        </p:txBody>
      </p:sp>
    </p:spTree>
    <p:extLst>
      <p:ext uri="{BB962C8B-B14F-4D97-AF65-F5344CB8AC3E}">
        <p14:creationId xmlns:p14="http://schemas.microsoft.com/office/powerpoint/2010/main" val="1714981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4"/>
          <p:cNvSpPr txBox="1">
            <a:spLocks noGrp="1"/>
          </p:cNvSpPr>
          <p:nvPr>
            <p:ph type="ctrTitle"/>
          </p:nvPr>
        </p:nvSpPr>
        <p:spPr>
          <a:xfrm>
            <a:off x="1924100" y="1585233"/>
            <a:ext cx="8523600" cy="1943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 fontScale="90000"/>
          </a:bodyPr>
          <a:lstStyle/>
          <a:p>
            <a:r>
              <a:rPr lang="en" sz="5184"/>
              <a:t>योग्यता - संवर्द्धक पाठ्यक्रम</a:t>
            </a:r>
            <a:r>
              <a:rPr lang="en" sz="4000"/>
              <a:t/>
            </a:r>
            <a:br>
              <a:rPr lang="en" sz="4000"/>
            </a:br>
            <a:r>
              <a:rPr lang="en" sz="4000"/>
              <a:t>(AEC - Ability Enhancement course) </a:t>
            </a:r>
            <a:endParaRPr sz="4000"/>
          </a:p>
          <a:p>
            <a:pPr>
              <a:buClr>
                <a:schemeClr val="lt2"/>
              </a:buClr>
              <a:buSzPct val="90000"/>
            </a:pPr>
            <a:r>
              <a:rPr lang="en" sz="4444"/>
              <a:t>हिन्दी ‘क’</a:t>
            </a:r>
            <a:endParaRPr sz="4444"/>
          </a:p>
        </p:txBody>
      </p:sp>
      <p:sp>
        <p:nvSpPr>
          <p:cNvPr id="69" name="Google Shape;69;p14"/>
          <p:cNvSpPr txBox="1">
            <a:spLocks noGrp="1"/>
          </p:cNvSpPr>
          <p:nvPr>
            <p:ph type="subTitle" idx="1"/>
          </p:nvPr>
        </p:nvSpPr>
        <p:spPr>
          <a:xfrm>
            <a:off x="2240403" y="4065933"/>
            <a:ext cx="7711200" cy="12120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indent="0">
              <a:buClr>
                <a:schemeClr val="lt2"/>
              </a:buClr>
              <a:buSzPts val="3000"/>
            </a:pPr>
            <a:r>
              <a:rPr lang="en" sz="4000">
                <a:solidFill>
                  <a:schemeClr val="dk1"/>
                </a:solidFill>
              </a:rPr>
              <a:t>हिन्दी भाषा : संप्रेषण और संचार 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1767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15"/>
          <p:cNvSpPr txBox="1">
            <a:spLocks noGrp="1"/>
          </p:cNvSpPr>
          <p:nvPr>
            <p:ph type="title"/>
          </p:nvPr>
        </p:nvSpPr>
        <p:spPr>
          <a:xfrm>
            <a:off x="517200" y="610700"/>
            <a:ext cx="11157600" cy="13756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5333"/>
              <a:t>इकाई - 1. सम्प्रेषण सामान्य परिचय </a:t>
            </a:r>
            <a:endParaRPr sz="5600"/>
          </a:p>
        </p:txBody>
      </p:sp>
      <p:sp>
        <p:nvSpPr>
          <p:cNvPr id="75" name="Google Shape;75;p15"/>
          <p:cNvSpPr txBox="1">
            <a:spLocks noGrp="1"/>
          </p:cNvSpPr>
          <p:nvPr>
            <p:ph type="body" idx="1"/>
          </p:nvPr>
        </p:nvSpPr>
        <p:spPr>
          <a:xfrm>
            <a:off x="2722367" y="1986433"/>
            <a:ext cx="8952400" cy="4105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indent="-558786">
              <a:buSzPts val="3000"/>
              <a:buChar char="❖"/>
            </a:pPr>
            <a:r>
              <a:rPr lang="en" sz="4000"/>
              <a:t>सम्प्रेषण की अवधारणा </a:t>
            </a:r>
            <a:endParaRPr sz="4000"/>
          </a:p>
          <a:p>
            <a:pPr indent="-558786">
              <a:buSzPts val="3000"/>
              <a:buChar char="❖"/>
            </a:pPr>
            <a:r>
              <a:rPr lang="en" sz="4000"/>
              <a:t>सम्प्रेषण की प्रक्रिया </a:t>
            </a:r>
            <a:endParaRPr sz="4000"/>
          </a:p>
          <a:p>
            <a:pPr indent="-558786">
              <a:buSzPts val="3000"/>
              <a:buChar char="❖"/>
            </a:pPr>
            <a:r>
              <a:rPr lang="en" sz="4000"/>
              <a:t>सम्प्रेषण के विविध आयाम </a:t>
            </a:r>
            <a:endParaRPr sz="4000"/>
          </a:p>
          <a:p>
            <a:pPr indent="-558786">
              <a:buSzPts val="3000"/>
              <a:buChar char="❖"/>
            </a:pPr>
            <a:r>
              <a:rPr lang="en" sz="4000"/>
              <a:t>सम्प्रेषण और संचार </a:t>
            </a:r>
            <a:endParaRPr sz="4000"/>
          </a:p>
        </p:txBody>
      </p:sp>
    </p:spTree>
    <p:extLst>
      <p:ext uri="{BB962C8B-B14F-4D97-AF65-F5344CB8AC3E}">
        <p14:creationId xmlns:p14="http://schemas.microsoft.com/office/powerpoint/2010/main" val="302927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16"/>
          <p:cNvSpPr txBox="1">
            <a:spLocks noGrp="1"/>
          </p:cNvSpPr>
          <p:nvPr>
            <p:ph type="title"/>
          </p:nvPr>
        </p:nvSpPr>
        <p:spPr>
          <a:xfrm>
            <a:off x="517200" y="610700"/>
            <a:ext cx="11157600" cy="12936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algn="ctr"/>
            <a:r>
              <a:rPr lang="en" sz="5229"/>
              <a:t>सम्प्रेषण की प्रक्रिया</a:t>
            </a:r>
            <a:r>
              <a:rPr lang="en" sz="4400"/>
              <a:t> </a:t>
            </a:r>
            <a:endParaRPr sz="4400"/>
          </a:p>
        </p:txBody>
      </p:sp>
      <p:sp>
        <p:nvSpPr>
          <p:cNvPr id="81" name="Google Shape;81;p16"/>
          <p:cNvSpPr txBox="1">
            <a:spLocks noGrp="1"/>
          </p:cNvSpPr>
          <p:nvPr>
            <p:ph type="body" idx="1"/>
          </p:nvPr>
        </p:nvSpPr>
        <p:spPr>
          <a:xfrm>
            <a:off x="0" y="2484400"/>
            <a:ext cx="12192000" cy="437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endParaRPr/>
          </a:p>
        </p:txBody>
      </p:sp>
      <p:pic>
        <p:nvPicPr>
          <p:cNvPr id="82" name="Google Shape;82;p1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2484367"/>
            <a:ext cx="12192000" cy="43736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2664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ok_POWER_USER_SEPARATOR_ICONS_booklet_POWER_USER_SEPARATOR_ICONS_books_POWER_USER_SEPARATOR_ICONS_culture_POWER_USER_SEPARATOR_ICONS_librar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Marina">
  <a:themeElements>
    <a:clrScheme name="Marina">
      <a:dk1>
        <a:srgbClr val="FFFFFF"/>
      </a:dk1>
      <a:lt1>
        <a:srgbClr val="00517C"/>
      </a:lt1>
      <a:dk2>
        <a:srgbClr val="004065"/>
      </a:dk2>
      <a:lt2>
        <a:srgbClr val="CFD8DC"/>
      </a:lt2>
      <a:accent1>
        <a:srgbClr val="0277BD"/>
      </a:accent1>
      <a:accent2>
        <a:srgbClr val="558B2F"/>
      </a:accent2>
      <a:accent3>
        <a:srgbClr val="009688"/>
      </a:accent3>
      <a:accent4>
        <a:srgbClr val="039BE5"/>
      </a:accent4>
      <a:accent5>
        <a:srgbClr val="8BC34A"/>
      </a:accent5>
      <a:accent6>
        <a:srgbClr val="FFEB38"/>
      </a:accent6>
      <a:hlink>
        <a:srgbClr val="8BC34A"/>
      </a:hlink>
      <a:folHlink>
        <a:srgbClr val="8BC34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ooks 16x9">
  <a:themeElements>
    <a:clrScheme name="Books_16x9">
      <a:dk1>
        <a:srgbClr val="374C81"/>
      </a:dk1>
      <a:lt1>
        <a:srgbClr val="FFFFFF"/>
      </a:lt1>
      <a:dk2>
        <a:srgbClr val="000000"/>
      </a:dk2>
      <a:lt2>
        <a:srgbClr val="EDE5DF"/>
      </a:lt2>
      <a:accent1>
        <a:srgbClr val="414E77"/>
      </a:accent1>
      <a:accent2>
        <a:srgbClr val="70AAC4"/>
      </a:accent2>
      <a:accent3>
        <a:srgbClr val="8B6A94"/>
      </a:accent3>
      <a:accent4>
        <a:srgbClr val="61A796"/>
      </a:accent4>
      <a:accent5>
        <a:srgbClr val="4E5798"/>
      </a:accent5>
      <a:accent6>
        <a:srgbClr val="7E5C5C"/>
      </a:accent6>
      <a:hlink>
        <a:srgbClr val="0070C0"/>
      </a:hlink>
      <a:folHlink>
        <a:srgbClr val="7030A0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80000" r="-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30000" t="30000" r="7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2787940.potx" id="{9A4E33EC-D715-440E-9062-8AFA4CC9E341}" vid="{0DFBCB81-4ACA-49F1-BA1C-2B43B27F1FC4}"/>
    </a:ext>
  </a:extLst>
</a:theme>
</file>

<file path=ppt/theme/theme4.xml><?xml version="1.0" encoding="utf-8"?>
<a:theme xmlns:a="http://schemas.openxmlformats.org/drawingml/2006/main" name="Celestial">
  <a:themeElements>
    <a:clrScheme name="Celestial">
      <a:dk1>
        <a:sysClr val="windowText" lastClr="000000"/>
      </a:dk1>
      <a:lt1>
        <a:sysClr val="window" lastClr="FFFFFF"/>
      </a:lt1>
      <a:dk2>
        <a:srgbClr val="18276C"/>
      </a:dk2>
      <a:lt2>
        <a:srgbClr val="EBEBEB"/>
      </a:lt2>
      <a:accent1>
        <a:srgbClr val="AC3EC1"/>
      </a:accent1>
      <a:accent2>
        <a:srgbClr val="477BD1"/>
      </a:accent2>
      <a:accent3>
        <a:srgbClr val="46B298"/>
      </a:accent3>
      <a:accent4>
        <a:srgbClr val="90BA4C"/>
      </a:accent4>
      <a:accent5>
        <a:srgbClr val="DD9D31"/>
      </a:accent5>
      <a:accent6>
        <a:srgbClr val="E25247"/>
      </a:accent6>
      <a:hlink>
        <a:srgbClr val="C573D2"/>
      </a:hlink>
      <a:folHlink>
        <a:srgbClr val="CCAEE8"/>
      </a:folHlink>
    </a:clrScheme>
    <a:fontScheme name="Celestial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elestial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lumMod val="110000"/>
              </a:schemeClr>
            </a:gs>
            <a:gs pos="100000">
              <a:schemeClr val="phClr">
                <a:tint val="82000"/>
                <a:alpha val="7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00000"/>
              </a:schemeClr>
            </a:gs>
            <a:gs pos="100000">
              <a:schemeClr val="phClr">
                <a:shade val="88000"/>
                <a:lumMod val="88000"/>
              </a:schemeClr>
            </a:gs>
          </a:gsLst>
          <a:lin ang="5400000" scaled="1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5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shade val="96000"/>
                <a:hueMod val="100000"/>
                <a:satMod val="180000"/>
                <a:lumMod val="110000"/>
              </a:schemeClr>
            </a:gs>
            <a:gs pos="100000">
              <a:schemeClr val="phClr">
                <a:shade val="96000"/>
                <a:satMod val="160000"/>
                <a:lumMod val="100000"/>
              </a:schemeClr>
            </a:gs>
          </a:gsLst>
          <a:lin ang="4740000" scaled="1"/>
        </a:gradFill>
        <a:blipFill>
          <a:blip xmlns:r="http://schemas.openxmlformats.org/officeDocument/2006/relationships" r:embed="rId1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lestial" id="{C4BB2A3D-0E93-4C5F-B0D2-9D3FCE089CC5}" vid="{42E5908D-19A2-46FD-89FA-638B126129EF}"/>
    </a:ext>
  </a:extLst>
</a:theme>
</file>

<file path=ppt/theme/theme5.xml><?xml version="1.0" encoding="utf-8"?>
<a:theme xmlns:a="http://schemas.openxmlformats.org/drawingml/2006/main" name="1_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149</TotalTime>
  <Words>1367</Words>
  <Application>Microsoft Office PowerPoint</Application>
  <PresentationFormat>Widescreen</PresentationFormat>
  <Paragraphs>248</Paragraphs>
  <Slides>3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55" baseType="lpstr">
      <vt:lpstr>Arial Unicode MS</vt:lpstr>
      <vt:lpstr>Arial</vt:lpstr>
      <vt:lpstr>Arial MT</vt:lpstr>
      <vt:lpstr>Calibri</vt:lpstr>
      <vt:lpstr>Calibri Light</vt:lpstr>
      <vt:lpstr>Century Gothic</vt:lpstr>
      <vt:lpstr>Georgia</vt:lpstr>
      <vt:lpstr>Kokila</vt:lpstr>
      <vt:lpstr>Mangal</vt:lpstr>
      <vt:lpstr>Nirmala UI</vt:lpstr>
      <vt:lpstr>Roboto</vt:lpstr>
      <vt:lpstr>Roboto Slab</vt:lpstr>
      <vt:lpstr>Times New Roman</vt:lpstr>
      <vt:lpstr>Trebuchet MS</vt:lpstr>
      <vt:lpstr>Wingdings</vt:lpstr>
      <vt:lpstr>Wingdings 3</vt:lpstr>
      <vt:lpstr>Wisp</vt:lpstr>
      <vt:lpstr>Marina</vt:lpstr>
      <vt:lpstr>Books 16x9</vt:lpstr>
      <vt:lpstr>Celestial</vt:lpstr>
      <vt:lpstr>1_Wisp</vt:lpstr>
      <vt:lpstr>Office Theme</vt:lpstr>
      <vt:lpstr>Slipstream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हिन्दी विभाग शैक्षणिक सत्र 2023 – 2024</vt:lpstr>
      <vt:lpstr>योग्यता - संवर्द्धक पाठ्यक्रम (AEC - Ability Enhancement course)  हिन्दी ‘क’</vt:lpstr>
      <vt:lpstr>इकाई - 1. सम्प्रेषण सामान्य परिचय </vt:lpstr>
      <vt:lpstr>सम्प्रेषण की प्रक्रिया </vt:lpstr>
      <vt:lpstr>    इकाई : 2 सम्प्रेषण के प्रकार </vt:lpstr>
      <vt:lpstr>हिंदी विभाग हिंदी औपचारिक लेखन (हिंदी ख)</vt:lpstr>
      <vt:lpstr>कुछ प्रश्न?</vt:lpstr>
      <vt:lpstr>विषय एवं पाठ्यक्रम</vt:lpstr>
      <vt:lpstr>विषय एवं पाठ्यक्रम</vt:lpstr>
      <vt:lpstr>सोशल मीडिया और ब्लॉग लेखन (हिंदी-ग) </vt:lpstr>
      <vt:lpstr>पाठ्यक्रम का उद्देश्य (Course Objectives)  * हिंदी सोशल मीडिया के विभिन्न माध्यमों की जानकारी  * सोशल मीडिया की कार्यशैली की समझ   * सोशल मीडिया के महत्व और प्रभाव से मूल्यांकन  * ब्लॉग बनाना और लेखन  * सोशल मीडिया का व्यावहारिक ज्ञान</vt:lpstr>
      <vt:lpstr>इकाई 1. सोशल मीडिया और ब्लॉग सोशल मीडिया : अर्थ और परिभाषा सोशल मीडिया का प्रभाव और महत्व सोशल मीडिया के प्रकार (विकीपीडिया, ब्लॉग, सोशल नेटवर्किंग साइट्स, ट्विटर, यूट्यूब, इन्स्टाग्राम आदि ) ब्लॉग लेखन: सामान्य परिचय</vt:lpstr>
      <vt:lpstr>सहायक पुस्तकें : 1. सामाजिक मीडिया और हम: रवीन्द्र प्रभात, नोशन प्रेस 2. सोशल मीडिया: स्वर्ण सुमन, हार्पर कॉलिन्स पब्लिशर इण्डिया 3. भूमंडलीकरण और मीडिया: कुमुद शर्मा 4. मीडिया और हिन्दी: बदलती प्रवृतियाँ: रविन्द्र जाधव, वाणी प्रकाशन 5. रेडियो लेखन, मधुकर गंगाधर, बिहार हिंदी ग्रंथ अकादमी, पटना, प्रथम संस्करण- 1974 6. रेडियो वार्ता शिल्प, सिद्धनाथ कुमार, राधाकृष्ण प्रकाशन, नई दिल्ली, प्रथम प्रकाशन- 1992</vt:lpstr>
      <vt:lpstr>         AEC HINDI D   क्षमता संवर्धन पाठ्यक्रम-हिंदी डी</vt:lpstr>
      <vt:lpstr>इकाई 1 : लिपि ज्ञान </vt:lpstr>
      <vt:lpstr>इकाई  : हिंदी की आधारभूत शब्दावली</vt:lpstr>
      <vt:lpstr>Paper OUT Come </vt:lpstr>
      <vt:lpstr>AEC - Hindi E अनिवार्य हिंदी पाठ्यक्रम – 1</vt:lpstr>
      <vt:lpstr>सेमेस्टर III</vt:lpstr>
      <vt:lpstr>इकाई 1: हिंदी में वार्तालाप (प्रारंभिक स्तर) (1-7 सप्ताह)</vt:lpstr>
      <vt:lpstr>इकाई 2 : हिंदी का व्यावहारिक व्याकरण (प्रारंभिक स्तर)  (8-15 सप्ताह)</vt:lpstr>
      <vt:lpstr>ए ई सी संस्कृत 'भारतस्य प्रतिष्ठे द्वे संस्कृतं संस्कृतिस्तथा'</vt:lpstr>
      <vt:lpstr>संस्कृत ए ई सी पाठ्यक्रम</vt:lpstr>
      <vt:lpstr>संस्कृत – सभी भाषाओं की जननी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Microsoft account</cp:lastModifiedBy>
  <cp:revision>42</cp:revision>
  <dcterms:created xsi:type="dcterms:W3CDTF">2023-08-19T08:59:58Z</dcterms:created>
  <dcterms:modified xsi:type="dcterms:W3CDTF">2023-08-22T03:54:47Z</dcterms:modified>
</cp:coreProperties>
</file>